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2"/>
  </p:notesMasterIdLst>
  <p:handoutMasterIdLst>
    <p:handoutMasterId r:id="rId13"/>
  </p:handoutMasterIdLst>
  <p:sldIdLst>
    <p:sldId id="377" r:id="rId5"/>
    <p:sldId id="2134808715" r:id="rId6"/>
    <p:sldId id="2134808730" r:id="rId7"/>
    <p:sldId id="2134808722" r:id="rId8"/>
    <p:sldId id="7824" r:id="rId9"/>
    <p:sldId id="2147481051" r:id="rId10"/>
    <p:sldId id="2134808658" r:id="rId11"/>
  </p:sldIdLst>
  <p:sldSz cx="12192000" cy="6858000"/>
  <p:notesSz cx="6794500" cy="9931400"/>
  <p:custDataLst>
    <p:tags r:id="rId1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29" userDrawn="1">
          <p15:clr>
            <a:srgbClr val="A4A3A4"/>
          </p15:clr>
        </p15:guide>
        <p15:guide id="2" pos="2140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D9C2F84-04B5-5902-44C1-58C1DF0F66AB}" name="Tillman Kratz" initials="TK" userId="S::Tillman.Kratz@deutschebahn.com::450b32f8-2716-4f77-b172-1d32491d363d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C5F9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0FAD7E9-A95C-4436-B2B7-8BA033ABC280}" v="61" dt="2026-05-27T13:40:26.20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1" d="100"/>
          <a:sy n="111" d="100"/>
        </p:scale>
        <p:origin x="792" y="11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129"/>
        <p:guide pos="214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microsoft.com/office/2018/10/relationships/authors" Target="authors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ags" Target="tags/tag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arald Wiebel" userId="46f20ed5-7ac5-4944-900f-7a869b779495" providerId="ADAL" clId="{22CFF064-83A8-424F-B2DB-CADEA287AE5C}"/>
    <pc:docChg chg="undo redo custSel addSld delSld modSld sldOrd modNotesMaster modHandout">
      <pc:chgData name="Harald Wiebel" userId="46f20ed5-7ac5-4944-900f-7a869b779495" providerId="ADAL" clId="{22CFF064-83A8-424F-B2DB-CADEA287AE5C}" dt="2026-05-27T14:32:14.655" v="3088" actId="20577"/>
      <pc:docMkLst>
        <pc:docMk/>
      </pc:docMkLst>
      <pc:sldChg chg="addSp modSp mod">
        <pc:chgData name="Harald Wiebel" userId="46f20ed5-7ac5-4944-900f-7a869b779495" providerId="ADAL" clId="{22CFF064-83A8-424F-B2DB-CADEA287AE5C}" dt="2026-05-27T11:15:51.009" v="92" actId="20577"/>
        <pc:sldMkLst>
          <pc:docMk/>
          <pc:sldMk cId="32468989" sldId="377"/>
        </pc:sldMkLst>
        <pc:spChg chg="mod">
          <ac:chgData name="Harald Wiebel" userId="46f20ed5-7ac5-4944-900f-7a869b779495" providerId="ADAL" clId="{22CFF064-83A8-424F-B2DB-CADEA287AE5C}" dt="2026-05-27T11:15:34.877" v="73" actId="20577"/>
          <ac:spMkLst>
            <pc:docMk/>
            <pc:sldMk cId="32468989" sldId="377"/>
            <ac:spMk id="2" creationId="{0A961589-0BB8-45F0-BBA2-0071AC683721}"/>
          </ac:spMkLst>
        </pc:spChg>
        <pc:spChg chg="mod">
          <ac:chgData name="Harald Wiebel" userId="46f20ed5-7ac5-4944-900f-7a869b779495" providerId="ADAL" clId="{22CFF064-83A8-424F-B2DB-CADEA287AE5C}" dt="2026-05-27T11:15:44.059" v="84" actId="5793"/>
          <ac:spMkLst>
            <pc:docMk/>
            <pc:sldMk cId="32468989" sldId="377"/>
            <ac:spMk id="3" creationId="{90E0A104-346E-4839-9BCB-A1CCFC08C62A}"/>
          </ac:spMkLst>
        </pc:spChg>
        <pc:spChg chg="mod">
          <ac:chgData name="Harald Wiebel" userId="46f20ed5-7ac5-4944-900f-7a869b779495" providerId="ADAL" clId="{22CFF064-83A8-424F-B2DB-CADEA287AE5C}" dt="2026-05-27T11:15:51.009" v="92" actId="20577"/>
          <ac:spMkLst>
            <pc:docMk/>
            <pc:sldMk cId="32468989" sldId="377"/>
            <ac:spMk id="4" creationId="{062AA9A6-C763-437C-9E06-2BBABCA0EBBF}"/>
          </ac:spMkLst>
        </pc:spChg>
        <pc:spChg chg="add mod">
          <ac:chgData name="Harald Wiebel" userId="46f20ed5-7ac5-4944-900f-7a869b779495" providerId="ADAL" clId="{22CFF064-83A8-424F-B2DB-CADEA287AE5C}" dt="2026-05-27T11:14:30.253" v="16" actId="1038"/>
          <ac:spMkLst>
            <pc:docMk/>
            <pc:sldMk cId="32468989" sldId="377"/>
            <ac:spMk id="5" creationId="{5AC4B31A-FAB3-0F92-FDEF-73BC23B1FCF1}"/>
          </ac:spMkLst>
        </pc:spChg>
      </pc:sldChg>
      <pc:sldChg chg="addSp modSp del">
        <pc:chgData name="Harald Wiebel" userId="46f20ed5-7ac5-4944-900f-7a869b779495" providerId="ADAL" clId="{22CFF064-83A8-424F-B2DB-CADEA287AE5C}" dt="2026-05-27T13:25:21.649" v="2887" actId="47"/>
        <pc:sldMkLst>
          <pc:docMk/>
          <pc:sldMk cId="3508971259" sldId="410"/>
        </pc:sldMkLst>
        <pc:spChg chg="add mod">
          <ac:chgData name="Harald Wiebel" userId="46f20ed5-7ac5-4944-900f-7a869b779495" providerId="ADAL" clId="{22CFF064-83A8-424F-B2DB-CADEA287AE5C}" dt="2026-05-27T11:15:00.684" v="33"/>
          <ac:spMkLst>
            <pc:docMk/>
            <pc:sldMk cId="3508971259" sldId="410"/>
            <ac:spMk id="5" creationId="{A5DFD479-C997-8C27-5F1D-2D7BA6DB96DE}"/>
          </ac:spMkLst>
        </pc:spChg>
      </pc:sldChg>
      <pc:sldChg chg="addSp modSp del">
        <pc:chgData name="Harald Wiebel" userId="46f20ed5-7ac5-4944-900f-7a869b779495" providerId="ADAL" clId="{22CFF064-83A8-424F-B2DB-CADEA287AE5C}" dt="2026-05-27T13:25:21.649" v="2887" actId="47"/>
        <pc:sldMkLst>
          <pc:docMk/>
          <pc:sldMk cId="2812994382" sldId="2073"/>
        </pc:sldMkLst>
        <pc:spChg chg="add mod">
          <ac:chgData name="Harald Wiebel" userId="46f20ed5-7ac5-4944-900f-7a869b779495" providerId="ADAL" clId="{22CFF064-83A8-424F-B2DB-CADEA287AE5C}" dt="2026-05-27T11:15:04.895" v="35"/>
          <ac:spMkLst>
            <pc:docMk/>
            <pc:sldMk cId="2812994382" sldId="2073"/>
            <ac:spMk id="4" creationId="{26631D4F-04C3-1D21-BD88-2E93D53358DB}"/>
          </ac:spMkLst>
        </pc:spChg>
      </pc:sldChg>
      <pc:sldChg chg="addSp delSp modSp add mod ord">
        <pc:chgData name="Harald Wiebel" userId="46f20ed5-7ac5-4944-900f-7a869b779495" providerId="ADAL" clId="{22CFF064-83A8-424F-B2DB-CADEA287AE5C}" dt="2026-05-27T14:29:34.357" v="3016" actId="478"/>
        <pc:sldMkLst>
          <pc:docMk/>
          <pc:sldMk cId="474222530" sldId="7824"/>
        </pc:sldMkLst>
        <pc:spChg chg="del">
          <ac:chgData name="Harald Wiebel" userId="46f20ed5-7ac5-4944-900f-7a869b779495" providerId="ADAL" clId="{22CFF064-83A8-424F-B2DB-CADEA287AE5C}" dt="2026-05-27T11:25:22.856" v="622" actId="478"/>
          <ac:spMkLst>
            <pc:docMk/>
            <pc:sldMk cId="474222530" sldId="7824"/>
            <ac:spMk id="3" creationId="{840A0C2C-6EC6-4898-94F6-F419663A3014}"/>
          </ac:spMkLst>
        </pc:spChg>
        <pc:spChg chg="add mod">
          <ac:chgData name="Harald Wiebel" userId="46f20ed5-7ac5-4944-900f-7a869b779495" providerId="ADAL" clId="{22CFF064-83A8-424F-B2DB-CADEA287AE5C}" dt="2026-05-27T11:25:44.531" v="623"/>
          <ac:spMkLst>
            <pc:docMk/>
            <pc:sldMk cId="474222530" sldId="7824"/>
            <ac:spMk id="5" creationId="{0F72601C-60ED-D870-D1DF-FDFFD5BFB452}"/>
          </ac:spMkLst>
        </pc:spChg>
        <pc:spChg chg="del">
          <ac:chgData name="Harald Wiebel" userId="46f20ed5-7ac5-4944-900f-7a869b779495" providerId="ADAL" clId="{22CFF064-83A8-424F-B2DB-CADEA287AE5C}" dt="2026-05-27T14:28:22.628" v="2978" actId="478"/>
          <ac:spMkLst>
            <pc:docMk/>
            <pc:sldMk cId="474222530" sldId="7824"/>
            <ac:spMk id="14" creationId="{99631023-D45C-4E5E-A750-DC057F486360}"/>
          </ac:spMkLst>
        </pc:spChg>
        <pc:spChg chg="del">
          <ac:chgData name="Harald Wiebel" userId="46f20ed5-7ac5-4944-900f-7a869b779495" providerId="ADAL" clId="{22CFF064-83A8-424F-B2DB-CADEA287AE5C}" dt="2026-05-27T14:29:30.398" v="3014" actId="478"/>
          <ac:spMkLst>
            <pc:docMk/>
            <pc:sldMk cId="474222530" sldId="7824"/>
            <ac:spMk id="16" creationId="{F888E88E-0539-4882-BF45-9CD5EBE14365}"/>
          </ac:spMkLst>
        </pc:spChg>
        <pc:spChg chg="del">
          <ac:chgData name="Harald Wiebel" userId="46f20ed5-7ac5-4944-900f-7a869b779495" providerId="ADAL" clId="{22CFF064-83A8-424F-B2DB-CADEA287AE5C}" dt="2026-05-27T14:29:29.567" v="3013" actId="478"/>
          <ac:spMkLst>
            <pc:docMk/>
            <pc:sldMk cId="474222530" sldId="7824"/>
            <ac:spMk id="28" creationId="{1086A9E9-F2D3-40F9-9A0E-E987549C4C64}"/>
          </ac:spMkLst>
        </pc:spChg>
        <pc:spChg chg="del mod">
          <ac:chgData name="Harald Wiebel" userId="46f20ed5-7ac5-4944-900f-7a869b779495" providerId="ADAL" clId="{22CFF064-83A8-424F-B2DB-CADEA287AE5C}" dt="2026-05-27T14:28:24.223" v="2980" actId="478"/>
          <ac:spMkLst>
            <pc:docMk/>
            <pc:sldMk cId="474222530" sldId="7824"/>
            <ac:spMk id="30" creationId="{B0F0EEEE-213B-4311-91ED-9B9BD3428048}"/>
          </ac:spMkLst>
        </pc:spChg>
        <pc:spChg chg="mod">
          <ac:chgData name="Harald Wiebel" userId="46f20ed5-7ac5-4944-900f-7a869b779495" providerId="ADAL" clId="{22CFF064-83A8-424F-B2DB-CADEA287AE5C}" dt="2026-05-27T11:27:39.816" v="704" actId="1037"/>
          <ac:spMkLst>
            <pc:docMk/>
            <pc:sldMk cId="474222530" sldId="7824"/>
            <ac:spMk id="36" creationId="{8ED3F510-478D-413C-BA8C-DDEB62686279}"/>
          </ac:spMkLst>
        </pc:spChg>
        <pc:spChg chg="mod">
          <ac:chgData name="Harald Wiebel" userId="46f20ed5-7ac5-4944-900f-7a869b779495" providerId="ADAL" clId="{22CFF064-83A8-424F-B2DB-CADEA287AE5C}" dt="2026-05-27T14:28:56.842" v="3012" actId="1076"/>
          <ac:spMkLst>
            <pc:docMk/>
            <pc:sldMk cId="474222530" sldId="7824"/>
            <ac:spMk id="38" creationId="{274D54DA-DF65-4FBE-98DB-E668ACD1B0AA}"/>
          </ac:spMkLst>
        </pc:spChg>
        <pc:spChg chg="mod">
          <ac:chgData name="Harald Wiebel" userId="46f20ed5-7ac5-4944-900f-7a869b779495" providerId="ADAL" clId="{22CFF064-83A8-424F-B2DB-CADEA287AE5C}" dt="2026-05-27T14:28:29.601" v="2990" actId="20577"/>
          <ac:spMkLst>
            <pc:docMk/>
            <pc:sldMk cId="474222530" sldId="7824"/>
            <ac:spMk id="39" creationId="{7E12A9CA-1B5D-4980-BF15-0800814AA38A}"/>
          </ac:spMkLst>
        </pc:spChg>
        <pc:spChg chg="del mod">
          <ac:chgData name="Harald Wiebel" userId="46f20ed5-7ac5-4944-900f-7a869b779495" providerId="ADAL" clId="{22CFF064-83A8-424F-B2DB-CADEA287AE5C}" dt="2026-05-27T14:29:34.357" v="3016" actId="478"/>
          <ac:spMkLst>
            <pc:docMk/>
            <pc:sldMk cId="474222530" sldId="7824"/>
            <ac:spMk id="40" creationId="{08B6C44C-43D6-48E5-9932-0CFBFA84793C}"/>
          </ac:spMkLst>
        </pc:spChg>
        <pc:spChg chg="del">
          <ac:chgData name="Harald Wiebel" userId="46f20ed5-7ac5-4944-900f-7a869b779495" providerId="ADAL" clId="{22CFF064-83A8-424F-B2DB-CADEA287AE5C}" dt="2026-05-27T14:28:09.919" v="2976" actId="478"/>
          <ac:spMkLst>
            <pc:docMk/>
            <pc:sldMk cId="474222530" sldId="7824"/>
            <ac:spMk id="41" creationId="{852338C7-C97B-4A2C-8567-45303B508A47}"/>
          </ac:spMkLst>
        </pc:spChg>
        <pc:spChg chg="mod">
          <ac:chgData name="Harald Wiebel" userId="46f20ed5-7ac5-4944-900f-7a869b779495" providerId="ADAL" clId="{22CFF064-83A8-424F-B2DB-CADEA287AE5C}" dt="2026-05-27T11:26:41.294" v="660" actId="6549"/>
          <ac:spMkLst>
            <pc:docMk/>
            <pc:sldMk cId="474222530" sldId="7824"/>
            <ac:spMk id="45" creationId="{1786D6CF-4DC5-4781-9E6D-ECD2D12308C6}"/>
          </ac:spMkLst>
        </pc:spChg>
        <pc:spChg chg="mod">
          <ac:chgData name="Harald Wiebel" userId="46f20ed5-7ac5-4944-900f-7a869b779495" providerId="ADAL" clId="{22CFF064-83A8-424F-B2DB-CADEA287AE5C}" dt="2026-05-27T11:27:08.856" v="664" actId="20577"/>
          <ac:spMkLst>
            <pc:docMk/>
            <pc:sldMk cId="474222530" sldId="7824"/>
            <ac:spMk id="48" creationId="{E3E98AD0-347B-4763-BB7D-E433D8FF0FAE}"/>
          </ac:spMkLst>
        </pc:spChg>
        <pc:spChg chg="mod">
          <ac:chgData name="Harald Wiebel" userId="46f20ed5-7ac5-4944-900f-7a869b779495" providerId="ADAL" clId="{22CFF064-83A8-424F-B2DB-CADEA287AE5C}" dt="2026-05-27T11:26:02.816" v="627" actId="20577"/>
          <ac:spMkLst>
            <pc:docMk/>
            <pc:sldMk cId="474222530" sldId="7824"/>
            <ac:spMk id="64" creationId="{F011AA0A-2E7D-45DD-86BE-5E5AE41F0F06}"/>
          </ac:spMkLst>
        </pc:spChg>
        <pc:cxnChg chg="del mod">
          <ac:chgData name="Harald Wiebel" userId="46f20ed5-7ac5-4944-900f-7a869b779495" providerId="ADAL" clId="{22CFF064-83A8-424F-B2DB-CADEA287AE5C}" dt="2026-05-27T14:29:32.174" v="3015" actId="478"/>
          <ac:cxnSpMkLst>
            <pc:docMk/>
            <pc:sldMk cId="474222530" sldId="7824"/>
            <ac:cxnSpMk id="91" creationId="{2E489631-2376-4196-907C-E39A58D1DDDC}"/>
          </ac:cxnSpMkLst>
        </pc:cxnChg>
        <pc:cxnChg chg="del mod">
          <ac:chgData name="Harald Wiebel" userId="46f20ed5-7ac5-4944-900f-7a869b779495" providerId="ADAL" clId="{22CFF064-83A8-424F-B2DB-CADEA287AE5C}" dt="2026-05-27T14:28:21.659" v="2977" actId="478"/>
          <ac:cxnSpMkLst>
            <pc:docMk/>
            <pc:sldMk cId="474222530" sldId="7824"/>
            <ac:cxnSpMk id="97" creationId="{58A286A6-39DF-44AA-A3EB-A4EF103B0AC8}"/>
          </ac:cxnSpMkLst>
        </pc:cxnChg>
      </pc:sldChg>
      <pc:sldChg chg="addSp modSp del mod">
        <pc:chgData name="Harald Wiebel" userId="46f20ed5-7ac5-4944-900f-7a869b779495" providerId="ADAL" clId="{22CFF064-83A8-424F-B2DB-CADEA287AE5C}" dt="2026-05-27T11:16:13.031" v="93" actId="47"/>
        <pc:sldMkLst>
          <pc:docMk/>
          <pc:sldMk cId="3455532378" sldId="2134808659"/>
        </pc:sldMkLst>
        <pc:spChg chg="add mod">
          <ac:chgData name="Harald Wiebel" userId="46f20ed5-7ac5-4944-900f-7a869b779495" providerId="ADAL" clId="{22CFF064-83A8-424F-B2DB-CADEA287AE5C}" dt="2026-05-27T11:14:42.985" v="18" actId="14100"/>
          <ac:spMkLst>
            <pc:docMk/>
            <pc:sldMk cId="3455532378" sldId="2134808659"/>
            <ac:spMk id="20" creationId="{02ED4882-188B-D10F-92AB-67A779602CC9}"/>
          </ac:spMkLst>
        </pc:spChg>
      </pc:sldChg>
      <pc:sldChg chg="addSp modSp del">
        <pc:chgData name="Harald Wiebel" userId="46f20ed5-7ac5-4944-900f-7a869b779495" providerId="ADAL" clId="{22CFF064-83A8-424F-B2DB-CADEA287AE5C}" dt="2026-05-27T13:25:21.649" v="2887" actId="47"/>
        <pc:sldMkLst>
          <pc:docMk/>
          <pc:sldMk cId="439893526" sldId="2134808663"/>
        </pc:sldMkLst>
        <pc:spChg chg="add mod">
          <ac:chgData name="Harald Wiebel" userId="46f20ed5-7ac5-4944-900f-7a869b779495" providerId="ADAL" clId="{22CFF064-83A8-424F-B2DB-CADEA287AE5C}" dt="2026-05-27T11:14:51.978" v="24"/>
          <ac:spMkLst>
            <pc:docMk/>
            <pc:sldMk cId="439893526" sldId="2134808663"/>
            <ac:spMk id="17" creationId="{C17E3510-32F4-E485-1AD7-1EA59D615F2D}"/>
          </ac:spMkLst>
        </pc:spChg>
      </pc:sldChg>
      <pc:sldChg chg="addSp modSp del">
        <pc:chgData name="Harald Wiebel" userId="46f20ed5-7ac5-4944-900f-7a869b779495" providerId="ADAL" clId="{22CFF064-83A8-424F-B2DB-CADEA287AE5C}" dt="2026-05-27T13:25:21.649" v="2887" actId="47"/>
        <pc:sldMkLst>
          <pc:docMk/>
          <pc:sldMk cId="102725086" sldId="2134808664"/>
        </pc:sldMkLst>
        <pc:spChg chg="add mod">
          <ac:chgData name="Harald Wiebel" userId="46f20ed5-7ac5-4944-900f-7a869b779495" providerId="ADAL" clId="{22CFF064-83A8-424F-B2DB-CADEA287AE5C}" dt="2026-05-27T11:15:09.256" v="39"/>
          <ac:spMkLst>
            <pc:docMk/>
            <pc:sldMk cId="102725086" sldId="2134808664"/>
            <ac:spMk id="17" creationId="{2FE7E017-3603-81D4-9A76-4971599D04D4}"/>
          </ac:spMkLst>
        </pc:spChg>
      </pc:sldChg>
      <pc:sldChg chg="addSp modSp del">
        <pc:chgData name="Harald Wiebel" userId="46f20ed5-7ac5-4944-900f-7a869b779495" providerId="ADAL" clId="{22CFF064-83A8-424F-B2DB-CADEA287AE5C}" dt="2026-05-27T11:16:13.855" v="94" actId="47"/>
        <pc:sldMkLst>
          <pc:docMk/>
          <pc:sldMk cId="422451561" sldId="2134808676"/>
        </pc:sldMkLst>
        <pc:spChg chg="add mod">
          <ac:chgData name="Harald Wiebel" userId="46f20ed5-7ac5-4944-900f-7a869b779495" providerId="ADAL" clId="{22CFF064-83A8-424F-B2DB-CADEA287AE5C}" dt="2026-05-27T11:14:47.362" v="19"/>
          <ac:spMkLst>
            <pc:docMk/>
            <pc:sldMk cId="422451561" sldId="2134808676"/>
            <ac:spMk id="7" creationId="{F7432665-87BE-1335-394B-F5040747D78C}"/>
          </ac:spMkLst>
        </pc:spChg>
      </pc:sldChg>
      <pc:sldChg chg="addSp modSp del">
        <pc:chgData name="Harald Wiebel" userId="46f20ed5-7ac5-4944-900f-7a869b779495" providerId="ADAL" clId="{22CFF064-83A8-424F-B2DB-CADEA287AE5C}" dt="2026-05-27T13:25:21.649" v="2887" actId="47"/>
        <pc:sldMkLst>
          <pc:docMk/>
          <pc:sldMk cId="1021212645" sldId="2134808685"/>
        </pc:sldMkLst>
        <pc:spChg chg="add mod">
          <ac:chgData name="Harald Wiebel" userId="46f20ed5-7ac5-4944-900f-7a869b779495" providerId="ADAL" clId="{22CFF064-83A8-424F-B2DB-CADEA287AE5C}" dt="2026-05-27T11:15:12.877" v="43"/>
          <ac:spMkLst>
            <pc:docMk/>
            <pc:sldMk cId="1021212645" sldId="2134808685"/>
            <ac:spMk id="5" creationId="{568AED3B-1402-CDD9-55F6-1EA69D8ABBF1}"/>
          </ac:spMkLst>
        </pc:spChg>
      </pc:sldChg>
      <pc:sldChg chg="addSp modSp del">
        <pc:chgData name="Harald Wiebel" userId="46f20ed5-7ac5-4944-900f-7a869b779495" providerId="ADAL" clId="{22CFF064-83A8-424F-B2DB-CADEA287AE5C}" dt="2026-05-27T11:16:14.690" v="95" actId="47"/>
        <pc:sldMkLst>
          <pc:docMk/>
          <pc:sldMk cId="1331691050" sldId="2134808688"/>
        </pc:sldMkLst>
        <pc:spChg chg="add mod">
          <ac:chgData name="Harald Wiebel" userId="46f20ed5-7ac5-4944-900f-7a869b779495" providerId="ADAL" clId="{22CFF064-83A8-424F-B2DB-CADEA287AE5C}" dt="2026-05-27T11:14:48.287" v="20"/>
          <ac:spMkLst>
            <pc:docMk/>
            <pc:sldMk cId="1331691050" sldId="2134808688"/>
            <ac:spMk id="6" creationId="{675E872E-2577-96DF-A6EA-662C30D2BBC8}"/>
          </ac:spMkLst>
        </pc:spChg>
      </pc:sldChg>
      <pc:sldChg chg="addSp modSp del">
        <pc:chgData name="Harald Wiebel" userId="46f20ed5-7ac5-4944-900f-7a869b779495" providerId="ADAL" clId="{22CFF064-83A8-424F-B2DB-CADEA287AE5C}" dt="2026-05-27T13:25:21.649" v="2887" actId="47"/>
        <pc:sldMkLst>
          <pc:docMk/>
          <pc:sldMk cId="2005612536" sldId="2134808689"/>
        </pc:sldMkLst>
        <pc:spChg chg="add mod">
          <ac:chgData name="Harald Wiebel" userId="46f20ed5-7ac5-4944-900f-7a869b779495" providerId="ADAL" clId="{22CFF064-83A8-424F-B2DB-CADEA287AE5C}" dt="2026-05-27T11:14:51.007" v="23"/>
          <ac:spMkLst>
            <pc:docMk/>
            <pc:sldMk cId="2005612536" sldId="2134808689"/>
            <ac:spMk id="6" creationId="{119C2078-5ADE-80F4-AABE-A0FC15731CF9}"/>
          </ac:spMkLst>
        </pc:spChg>
      </pc:sldChg>
      <pc:sldChg chg="addSp modSp del">
        <pc:chgData name="Harald Wiebel" userId="46f20ed5-7ac5-4944-900f-7a869b779495" providerId="ADAL" clId="{22CFF064-83A8-424F-B2DB-CADEA287AE5C}" dt="2026-05-27T13:25:21.649" v="2887" actId="47"/>
        <pc:sldMkLst>
          <pc:docMk/>
          <pc:sldMk cId="2963984837" sldId="2134808690"/>
        </pc:sldMkLst>
        <pc:spChg chg="add mod">
          <ac:chgData name="Harald Wiebel" userId="46f20ed5-7ac5-4944-900f-7a869b779495" providerId="ADAL" clId="{22CFF064-83A8-424F-B2DB-CADEA287AE5C}" dt="2026-05-27T11:14:54.610" v="27"/>
          <ac:spMkLst>
            <pc:docMk/>
            <pc:sldMk cId="2963984837" sldId="2134808690"/>
            <ac:spMk id="6" creationId="{96538CFD-E2EB-D252-091F-A466DD78AA95}"/>
          </ac:spMkLst>
        </pc:spChg>
      </pc:sldChg>
      <pc:sldChg chg="addSp modSp del">
        <pc:chgData name="Harald Wiebel" userId="46f20ed5-7ac5-4944-900f-7a869b779495" providerId="ADAL" clId="{22CFF064-83A8-424F-B2DB-CADEA287AE5C}" dt="2026-05-27T13:25:21.649" v="2887" actId="47"/>
        <pc:sldMkLst>
          <pc:docMk/>
          <pc:sldMk cId="2328997993" sldId="2134808691"/>
        </pc:sldMkLst>
        <pc:spChg chg="add mod">
          <ac:chgData name="Harald Wiebel" userId="46f20ed5-7ac5-4944-900f-7a869b779495" providerId="ADAL" clId="{22CFF064-83A8-424F-B2DB-CADEA287AE5C}" dt="2026-05-27T11:15:08.152" v="38"/>
          <ac:spMkLst>
            <pc:docMk/>
            <pc:sldMk cId="2328997993" sldId="2134808691"/>
            <ac:spMk id="6" creationId="{45D6F3EB-DA06-E210-FF69-9DFB486B29A4}"/>
          </ac:spMkLst>
        </pc:spChg>
      </pc:sldChg>
      <pc:sldChg chg="addSp modSp del">
        <pc:chgData name="Harald Wiebel" userId="46f20ed5-7ac5-4944-900f-7a869b779495" providerId="ADAL" clId="{22CFF064-83A8-424F-B2DB-CADEA287AE5C}" dt="2026-05-27T13:25:21.649" v="2887" actId="47"/>
        <pc:sldMkLst>
          <pc:docMk/>
          <pc:sldMk cId="3386134332" sldId="2134808713"/>
        </pc:sldMkLst>
        <pc:spChg chg="add mod">
          <ac:chgData name="Harald Wiebel" userId="46f20ed5-7ac5-4944-900f-7a869b779495" providerId="ADAL" clId="{22CFF064-83A8-424F-B2DB-CADEA287AE5C}" dt="2026-05-27T11:15:12.024" v="42"/>
          <ac:spMkLst>
            <pc:docMk/>
            <pc:sldMk cId="3386134332" sldId="2134808713"/>
            <ac:spMk id="7" creationId="{3FFA1E1F-D0E2-1443-D0CF-A0760C4DB2ED}"/>
          </ac:spMkLst>
        </pc:spChg>
      </pc:sldChg>
      <pc:sldChg chg="addSp modSp mod">
        <pc:chgData name="Harald Wiebel" userId="46f20ed5-7ac5-4944-900f-7a869b779495" providerId="ADAL" clId="{22CFF064-83A8-424F-B2DB-CADEA287AE5C}" dt="2026-05-27T13:30:47.617" v="2904" actId="403"/>
        <pc:sldMkLst>
          <pc:docMk/>
          <pc:sldMk cId="313607219" sldId="2134808715"/>
        </pc:sldMkLst>
        <pc:spChg chg="mod">
          <ac:chgData name="Harald Wiebel" userId="46f20ed5-7ac5-4944-900f-7a869b779495" providerId="ADAL" clId="{22CFF064-83A8-424F-B2DB-CADEA287AE5C}" dt="2026-05-27T11:16:32.591" v="130" actId="20577"/>
          <ac:spMkLst>
            <pc:docMk/>
            <pc:sldMk cId="313607219" sldId="2134808715"/>
            <ac:spMk id="2" creationId="{2FA1CB09-FF4F-279D-995E-DE6B9B50BEBC}"/>
          </ac:spMkLst>
        </pc:spChg>
        <pc:spChg chg="add mod">
          <ac:chgData name="Harald Wiebel" userId="46f20ed5-7ac5-4944-900f-7a869b779495" providerId="ADAL" clId="{22CFF064-83A8-424F-B2DB-CADEA287AE5C}" dt="2026-05-27T11:14:49.095" v="21"/>
          <ac:spMkLst>
            <pc:docMk/>
            <pc:sldMk cId="313607219" sldId="2134808715"/>
            <ac:spMk id="5" creationId="{11D61F9D-1716-F176-9721-F2869E1F26A5}"/>
          </ac:spMkLst>
        </pc:spChg>
        <pc:spChg chg="mod">
          <ac:chgData name="Harald Wiebel" userId="46f20ed5-7ac5-4944-900f-7a869b779495" providerId="ADAL" clId="{22CFF064-83A8-424F-B2DB-CADEA287AE5C}" dt="2026-05-27T13:30:36.345" v="2903" actId="1037"/>
          <ac:spMkLst>
            <pc:docMk/>
            <pc:sldMk cId="313607219" sldId="2134808715"/>
            <ac:spMk id="14" creationId="{0057E17F-7A32-51F8-7C09-919D6EAFAE6C}"/>
          </ac:spMkLst>
        </pc:spChg>
        <pc:spChg chg="mod">
          <ac:chgData name="Harald Wiebel" userId="46f20ed5-7ac5-4944-900f-7a869b779495" providerId="ADAL" clId="{22CFF064-83A8-424F-B2DB-CADEA287AE5C}" dt="2026-05-27T13:30:36.345" v="2903" actId="1037"/>
          <ac:spMkLst>
            <pc:docMk/>
            <pc:sldMk cId="313607219" sldId="2134808715"/>
            <ac:spMk id="15" creationId="{6231548D-7D22-35EB-F57E-2EEC6B5343AC}"/>
          </ac:spMkLst>
        </pc:spChg>
        <pc:spChg chg="mod">
          <ac:chgData name="Harald Wiebel" userId="46f20ed5-7ac5-4944-900f-7a869b779495" providerId="ADAL" clId="{22CFF064-83A8-424F-B2DB-CADEA287AE5C}" dt="2026-05-27T13:30:20.595" v="2891" actId="20577"/>
          <ac:spMkLst>
            <pc:docMk/>
            <pc:sldMk cId="313607219" sldId="2134808715"/>
            <ac:spMk id="20" creationId="{8BFD6F4C-AEA1-79A3-B3EF-B2FF02E9425C}"/>
          </ac:spMkLst>
        </pc:spChg>
        <pc:spChg chg="mod">
          <ac:chgData name="Harald Wiebel" userId="46f20ed5-7ac5-4944-900f-7a869b779495" providerId="ADAL" clId="{22CFF064-83A8-424F-B2DB-CADEA287AE5C}" dt="2026-05-27T13:30:09.244" v="2889" actId="403"/>
          <ac:spMkLst>
            <pc:docMk/>
            <pc:sldMk cId="313607219" sldId="2134808715"/>
            <ac:spMk id="28" creationId="{5EC6E01E-24BE-A018-AFFB-EC4FA3D8E156}"/>
          </ac:spMkLst>
        </pc:spChg>
        <pc:spChg chg="mod">
          <ac:chgData name="Harald Wiebel" userId="46f20ed5-7ac5-4944-900f-7a869b779495" providerId="ADAL" clId="{22CFF064-83A8-424F-B2DB-CADEA287AE5C}" dt="2026-05-27T13:30:47.617" v="2904" actId="403"/>
          <ac:spMkLst>
            <pc:docMk/>
            <pc:sldMk cId="313607219" sldId="2134808715"/>
            <ac:spMk id="30" creationId="{1E4875BC-DABF-B14C-841B-1DB82E459B5F}"/>
          </ac:spMkLst>
        </pc:spChg>
      </pc:sldChg>
      <pc:sldChg chg="addSp modSp del">
        <pc:chgData name="Harald Wiebel" userId="46f20ed5-7ac5-4944-900f-7a869b779495" providerId="ADAL" clId="{22CFF064-83A8-424F-B2DB-CADEA287AE5C}" dt="2026-05-27T13:25:21.649" v="2887" actId="47"/>
        <pc:sldMkLst>
          <pc:docMk/>
          <pc:sldMk cId="1166560265" sldId="2134808716"/>
        </pc:sldMkLst>
        <pc:spChg chg="add mod">
          <ac:chgData name="Harald Wiebel" userId="46f20ed5-7ac5-4944-900f-7a869b779495" providerId="ADAL" clId="{22CFF064-83A8-424F-B2DB-CADEA287AE5C}" dt="2026-05-27T11:14:52.810" v="25"/>
          <ac:spMkLst>
            <pc:docMk/>
            <pc:sldMk cId="1166560265" sldId="2134808716"/>
            <ac:spMk id="28" creationId="{50606A75-D5BD-977E-E99F-465FBA80B44E}"/>
          </ac:spMkLst>
        </pc:spChg>
      </pc:sldChg>
      <pc:sldChg chg="addSp modSp del">
        <pc:chgData name="Harald Wiebel" userId="46f20ed5-7ac5-4944-900f-7a869b779495" providerId="ADAL" clId="{22CFF064-83A8-424F-B2DB-CADEA287AE5C}" dt="2026-05-27T13:25:21.649" v="2887" actId="47"/>
        <pc:sldMkLst>
          <pc:docMk/>
          <pc:sldMk cId="3305647743" sldId="2134808717"/>
        </pc:sldMkLst>
        <pc:spChg chg="add mod">
          <ac:chgData name="Harald Wiebel" userId="46f20ed5-7ac5-4944-900f-7a869b779495" providerId="ADAL" clId="{22CFF064-83A8-424F-B2DB-CADEA287AE5C}" dt="2026-05-27T11:14:55.597" v="28"/>
          <ac:spMkLst>
            <pc:docMk/>
            <pc:sldMk cId="3305647743" sldId="2134808717"/>
            <ac:spMk id="26" creationId="{F6C4596D-04F0-8A55-1BB6-73123F418D48}"/>
          </ac:spMkLst>
        </pc:spChg>
      </pc:sldChg>
      <pc:sldChg chg="addSp modSp del">
        <pc:chgData name="Harald Wiebel" userId="46f20ed5-7ac5-4944-900f-7a869b779495" providerId="ADAL" clId="{22CFF064-83A8-424F-B2DB-CADEA287AE5C}" dt="2026-05-27T13:25:21.649" v="2887" actId="47"/>
        <pc:sldMkLst>
          <pc:docMk/>
          <pc:sldMk cId="492281029" sldId="2134808719"/>
        </pc:sldMkLst>
        <pc:spChg chg="add mod">
          <ac:chgData name="Harald Wiebel" userId="46f20ed5-7ac5-4944-900f-7a869b779495" providerId="ADAL" clId="{22CFF064-83A8-424F-B2DB-CADEA287AE5C}" dt="2026-05-27T11:14:56.544" v="29"/>
          <ac:spMkLst>
            <pc:docMk/>
            <pc:sldMk cId="492281029" sldId="2134808719"/>
            <ac:spMk id="31" creationId="{E0C410B5-AFCF-E6EF-A6C4-94A4880F607D}"/>
          </ac:spMkLst>
        </pc:spChg>
      </pc:sldChg>
      <pc:sldChg chg="addSp delSp modSp mod ord">
        <pc:chgData name="Harald Wiebel" userId="46f20ed5-7ac5-4944-900f-7a869b779495" providerId="ADAL" clId="{22CFF064-83A8-424F-B2DB-CADEA287AE5C}" dt="2026-05-27T14:27:57.065" v="2975" actId="478"/>
        <pc:sldMkLst>
          <pc:docMk/>
          <pc:sldMk cId="567190633" sldId="2134808722"/>
        </pc:sldMkLst>
        <pc:spChg chg="mod">
          <ac:chgData name="Harald Wiebel" userId="46f20ed5-7ac5-4944-900f-7a869b779495" providerId="ADAL" clId="{22CFF064-83A8-424F-B2DB-CADEA287AE5C}" dt="2026-05-27T11:33:00.939" v="862" actId="20577"/>
          <ac:spMkLst>
            <pc:docMk/>
            <pc:sldMk cId="567190633" sldId="2134808722"/>
            <ac:spMk id="2" creationId="{842A22C6-E113-3179-23C4-44D977B52AE0}"/>
          </ac:spMkLst>
        </pc:spChg>
        <pc:spChg chg="add mod">
          <ac:chgData name="Harald Wiebel" userId="46f20ed5-7ac5-4944-900f-7a869b779495" providerId="ADAL" clId="{22CFF064-83A8-424F-B2DB-CADEA287AE5C}" dt="2026-05-27T11:14:57.491" v="30"/>
          <ac:spMkLst>
            <pc:docMk/>
            <pc:sldMk cId="567190633" sldId="2134808722"/>
            <ac:spMk id="5" creationId="{547E6347-89A3-CCBC-2939-16DE10EE6161}"/>
          </ac:spMkLst>
        </pc:spChg>
        <pc:spChg chg="del">
          <ac:chgData name="Harald Wiebel" userId="46f20ed5-7ac5-4944-900f-7a869b779495" providerId="ADAL" clId="{22CFF064-83A8-424F-B2DB-CADEA287AE5C}" dt="2026-05-27T11:40:10.662" v="941" actId="478"/>
          <ac:spMkLst>
            <pc:docMk/>
            <pc:sldMk cId="567190633" sldId="2134808722"/>
            <ac:spMk id="6" creationId="{20227E44-AEBB-6253-1C15-A01501C0893A}"/>
          </ac:spMkLst>
        </pc:spChg>
        <pc:spChg chg="del">
          <ac:chgData name="Harald Wiebel" userId="46f20ed5-7ac5-4944-900f-7a869b779495" providerId="ADAL" clId="{22CFF064-83A8-424F-B2DB-CADEA287AE5C}" dt="2026-05-27T11:41:08.647" v="981" actId="478"/>
          <ac:spMkLst>
            <pc:docMk/>
            <pc:sldMk cId="567190633" sldId="2134808722"/>
            <ac:spMk id="9" creationId="{3304EC35-1F54-515D-BE24-0B211BD9DFC6}"/>
          </ac:spMkLst>
        </pc:spChg>
        <pc:spChg chg="del">
          <ac:chgData name="Harald Wiebel" userId="46f20ed5-7ac5-4944-900f-7a869b779495" providerId="ADAL" clId="{22CFF064-83A8-424F-B2DB-CADEA287AE5C}" dt="2026-05-27T11:40:18.051" v="944" actId="478"/>
          <ac:spMkLst>
            <pc:docMk/>
            <pc:sldMk cId="567190633" sldId="2134808722"/>
            <ac:spMk id="11" creationId="{67916EA1-33D5-3986-AC46-0531241B7C63}"/>
          </ac:spMkLst>
        </pc:spChg>
        <pc:spChg chg="add del">
          <ac:chgData name="Harald Wiebel" userId="46f20ed5-7ac5-4944-900f-7a869b779495" providerId="ADAL" clId="{22CFF064-83A8-424F-B2DB-CADEA287AE5C}" dt="2026-05-27T11:40:15.528" v="943" actId="478"/>
          <ac:spMkLst>
            <pc:docMk/>
            <pc:sldMk cId="567190633" sldId="2134808722"/>
            <ac:spMk id="12" creationId="{0FAD563F-D3DE-0476-E0B0-D2B906D18615}"/>
          </ac:spMkLst>
        </pc:spChg>
        <pc:spChg chg="add mod">
          <ac:chgData name="Harald Wiebel" userId="46f20ed5-7ac5-4944-900f-7a869b779495" providerId="ADAL" clId="{22CFF064-83A8-424F-B2DB-CADEA287AE5C}" dt="2026-05-27T11:42:43.348" v="1036" actId="14100"/>
          <ac:spMkLst>
            <pc:docMk/>
            <pc:sldMk cId="567190633" sldId="2134808722"/>
            <ac:spMk id="14" creationId="{0CE8A355-E942-84C5-10A0-20933056DE19}"/>
          </ac:spMkLst>
        </pc:spChg>
        <pc:spChg chg="add del mod">
          <ac:chgData name="Harald Wiebel" userId="46f20ed5-7ac5-4944-900f-7a869b779495" providerId="ADAL" clId="{22CFF064-83A8-424F-B2DB-CADEA287AE5C}" dt="2026-05-27T11:42:13.739" v="1026" actId="478"/>
          <ac:spMkLst>
            <pc:docMk/>
            <pc:sldMk cId="567190633" sldId="2134808722"/>
            <ac:spMk id="15" creationId="{EF985FEF-2068-C2D9-3AEF-2EF677388BA9}"/>
          </ac:spMkLst>
        </pc:spChg>
        <pc:spChg chg="mod">
          <ac:chgData name="Harald Wiebel" userId="46f20ed5-7ac5-4944-900f-7a869b779495" providerId="ADAL" clId="{22CFF064-83A8-424F-B2DB-CADEA287AE5C}" dt="2026-05-27T11:40:05.239" v="940" actId="20577"/>
          <ac:spMkLst>
            <pc:docMk/>
            <pc:sldMk cId="567190633" sldId="2134808722"/>
            <ac:spMk id="16" creationId="{2DFA5195-E365-BC82-868B-F835ECEC39D8}"/>
          </ac:spMkLst>
        </pc:spChg>
        <pc:spChg chg="del">
          <ac:chgData name="Harald Wiebel" userId="46f20ed5-7ac5-4944-900f-7a869b779495" providerId="ADAL" clId="{22CFF064-83A8-424F-B2DB-CADEA287AE5C}" dt="2026-05-27T11:42:16.730" v="1027" actId="478"/>
          <ac:spMkLst>
            <pc:docMk/>
            <pc:sldMk cId="567190633" sldId="2134808722"/>
            <ac:spMk id="19" creationId="{5E7B7D72-FE21-488C-68F9-74536E150A50}"/>
          </ac:spMkLst>
        </pc:spChg>
        <pc:spChg chg="mod">
          <ac:chgData name="Harald Wiebel" userId="46f20ed5-7ac5-4944-900f-7a869b779495" providerId="ADAL" clId="{22CFF064-83A8-424F-B2DB-CADEA287AE5C}" dt="2026-05-27T11:41:15.060" v="993" actId="1035"/>
          <ac:spMkLst>
            <pc:docMk/>
            <pc:sldMk cId="567190633" sldId="2134808722"/>
            <ac:spMk id="20" creationId="{06D123AC-D0C4-3636-2D7B-BCC325736A27}"/>
          </ac:spMkLst>
        </pc:spChg>
        <pc:spChg chg="del">
          <ac:chgData name="Harald Wiebel" userId="46f20ed5-7ac5-4944-900f-7a869b779495" providerId="ADAL" clId="{22CFF064-83A8-424F-B2DB-CADEA287AE5C}" dt="2026-05-27T11:42:18.621" v="1028" actId="478"/>
          <ac:spMkLst>
            <pc:docMk/>
            <pc:sldMk cId="567190633" sldId="2134808722"/>
            <ac:spMk id="21" creationId="{A2420C27-9989-7C2E-A900-891864E6DFD3}"/>
          </ac:spMkLst>
        </pc:spChg>
        <pc:spChg chg="mod ord">
          <ac:chgData name="Harald Wiebel" userId="46f20ed5-7ac5-4944-900f-7a869b779495" providerId="ADAL" clId="{22CFF064-83A8-424F-B2DB-CADEA287AE5C}" dt="2026-05-27T11:53:05.465" v="1195" actId="14100"/>
          <ac:spMkLst>
            <pc:docMk/>
            <pc:sldMk cId="567190633" sldId="2134808722"/>
            <ac:spMk id="22" creationId="{73CD1D7E-07F3-6271-5F15-F37A892034FC}"/>
          </ac:spMkLst>
        </pc:spChg>
        <pc:spChg chg="del">
          <ac:chgData name="Harald Wiebel" userId="46f20ed5-7ac5-4944-900f-7a869b779495" providerId="ADAL" clId="{22CFF064-83A8-424F-B2DB-CADEA287AE5C}" dt="2026-05-27T11:42:20.691" v="1029" actId="478"/>
          <ac:spMkLst>
            <pc:docMk/>
            <pc:sldMk cId="567190633" sldId="2134808722"/>
            <ac:spMk id="23" creationId="{0CDDAFFF-A328-184E-5C82-BF99F48BC8E6}"/>
          </ac:spMkLst>
        </pc:spChg>
        <pc:spChg chg="del">
          <ac:chgData name="Harald Wiebel" userId="46f20ed5-7ac5-4944-900f-7a869b779495" providerId="ADAL" clId="{22CFF064-83A8-424F-B2DB-CADEA287AE5C}" dt="2026-05-27T11:42:28.342" v="1031" actId="478"/>
          <ac:spMkLst>
            <pc:docMk/>
            <pc:sldMk cId="567190633" sldId="2134808722"/>
            <ac:spMk id="26" creationId="{16C8CE8A-E1CB-7241-C87F-DF0C1A8D5638}"/>
          </ac:spMkLst>
        </pc:spChg>
        <pc:spChg chg="mod">
          <ac:chgData name="Harald Wiebel" userId="46f20ed5-7ac5-4944-900f-7a869b779495" providerId="ADAL" clId="{22CFF064-83A8-424F-B2DB-CADEA287AE5C}" dt="2026-05-27T11:42:25.319" v="1030" actId="1076"/>
          <ac:spMkLst>
            <pc:docMk/>
            <pc:sldMk cId="567190633" sldId="2134808722"/>
            <ac:spMk id="27" creationId="{E60B62FB-73CC-C842-62CB-10C916FE4488}"/>
          </ac:spMkLst>
        </pc:spChg>
        <pc:spChg chg="ord">
          <ac:chgData name="Harald Wiebel" userId="46f20ed5-7ac5-4944-900f-7a869b779495" providerId="ADAL" clId="{22CFF064-83A8-424F-B2DB-CADEA287AE5C}" dt="2026-05-27T11:38:58.373" v="880" actId="166"/>
          <ac:spMkLst>
            <pc:docMk/>
            <pc:sldMk cId="567190633" sldId="2134808722"/>
            <ac:spMk id="29" creationId="{E9E2832A-D926-A706-7BBF-561D37099EB4}"/>
          </ac:spMkLst>
        </pc:spChg>
        <pc:spChg chg="del mod">
          <ac:chgData name="Harald Wiebel" userId="46f20ed5-7ac5-4944-900f-7a869b779495" providerId="ADAL" clId="{22CFF064-83A8-424F-B2DB-CADEA287AE5C}" dt="2026-05-27T11:41:20.726" v="996" actId="478"/>
          <ac:spMkLst>
            <pc:docMk/>
            <pc:sldMk cId="567190633" sldId="2134808722"/>
            <ac:spMk id="31" creationId="{D5445DE7-F77B-28E6-A3B6-2EEF5108F353}"/>
          </ac:spMkLst>
        </pc:spChg>
        <pc:spChg chg="del">
          <ac:chgData name="Harald Wiebel" userId="46f20ed5-7ac5-4944-900f-7a869b779495" providerId="ADAL" clId="{22CFF064-83A8-424F-B2DB-CADEA287AE5C}" dt="2026-05-27T11:41:19.199" v="994" actId="478"/>
          <ac:spMkLst>
            <pc:docMk/>
            <pc:sldMk cId="567190633" sldId="2134808722"/>
            <ac:spMk id="32" creationId="{7EBC3A45-C451-C3E5-130F-B91F0BAB495F}"/>
          </ac:spMkLst>
        </pc:spChg>
        <pc:spChg chg="mod">
          <ac:chgData name="Harald Wiebel" userId="46f20ed5-7ac5-4944-900f-7a869b779495" providerId="ADAL" clId="{22CFF064-83A8-424F-B2DB-CADEA287AE5C}" dt="2026-05-27T14:25:44.219" v="2972" actId="21"/>
          <ac:spMkLst>
            <pc:docMk/>
            <pc:sldMk cId="567190633" sldId="2134808722"/>
            <ac:spMk id="37" creationId="{F8332A20-4E4A-4CDE-FB20-B23F62BFAA79}"/>
          </ac:spMkLst>
        </pc:spChg>
        <pc:spChg chg="mod">
          <ac:chgData name="Harald Wiebel" userId="46f20ed5-7ac5-4944-900f-7a869b779495" providerId="ADAL" clId="{22CFF064-83A8-424F-B2DB-CADEA287AE5C}" dt="2026-05-27T13:32:00.080" v="2915" actId="403"/>
          <ac:spMkLst>
            <pc:docMk/>
            <pc:sldMk cId="567190633" sldId="2134808722"/>
            <ac:spMk id="38" creationId="{F178D0CA-705D-D6E2-CC65-A4E7FEDF7F8D}"/>
          </ac:spMkLst>
        </pc:spChg>
        <pc:spChg chg="mod">
          <ac:chgData name="Harald Wiebel" userId="46f20ed5-7ac5-4944-900f-7a869b779495" providerId="ADAL" clId="{22CFF064-83A8-424F-B2DB-CADEA287AE5C}" dt="2026-05-27T12:38:11.982" v="1313" actId="1076"/>
          <ac:spMkLst>
            <pc:docMk/>
            <pc:sldMk cId="567190633" sldId="2134808722"/>
            <ac:spMk id="41" creationId="{F1F20F5E-22AF-0E08-D760-6F1BFEEC12A6}"/>
          </ac:spMkLst>
        </pc:spChg>
        <pc:spChg chg="mod">
          <ac:chgData name="Harald Wiebel" userId="46f20ed5-7ac5-4944-900f-7a869b779495" providerId="ADAL" clId="{22CFF064-83A8-424F-B2DB-CADEA287AE5C}" dt="2026-05-27T14:25:48.927" v="2974" actId="20577"/>
          <ac:spMkLst>
            <pc:docMk/>
            <pc:sldMk cId="567190633" sldId="2134808722"/>
            <ac:spMk id="43" creationId="{8E225290-6A5C-2F2E-F287-C50FE3C0E13F}"/>
          </ac:spMkLst>
        </pc:spChg>
        <pc:spChg chg="mod">
          <ac:chgData name="Harald Wiebel" userId="46f20ed5-7ac5-4944-900f-7a869b779495" providerId="ADAL" clId="{22CFF064-83A8-424F-B2DB-CADEA287AE5C}" dt="2026-05-27T13:32:00.080" v="2915" actId="403"/>
          <ac:spMkLst>
            <pc:docMk/>
            <pc:sldMk cId="567190633" sldId="2134808722"/>
            <ac:spMk id="44" creationId="{14236AB6-D6AE-F854-016B-6662E50A487F}"/>
          </ac:spMkLst>
        </pc:spChg>
        <pc:spChg chg="mod ord">
          <ac:chgData name="Harald Wiebel" userId="46f20ed5-7ac5-4944-900f-7a869b779495" providerId="ADAL" clId="{22CFF064-83A8-424F-B2DB-CADEA287AE5C}" dt="2026-05-27T12:38:43.867" v="1338" actId="1076"/>
          <ac:spMkLst>
            <pc:docMk/>
            <pc:sldMk cId="567190633" sldId="2134808722"/>
            <ac:spMk id="47" creationId="{57336BE9-6B87-CF95-0325-DA2B42AA07CB}"/>
          </ac:spMkLst>
        </pc:spChg>
        <pc:spChg chg="mod">
          <ac:chgData name="Harald Wiebel" userId="46f20ed5-7ac5-4944-900f-7a869b779495" providerId="ADAL" clId="{22CFF064-83A8-424F-B2DB-CADEA287AE5C}" dt="2026-05-27T13:31:53.068" v="2913" actId="403"/>
          <ac:spMkLst>
            <pc:docMk/>
            <pc:sldMk cId="567190633" sldId="2134808722"/>
            <ac:spMk id="49" creationId="{BE001BA8-82A8-27F5-58A9-01659C1DCB8C}"/>
          </ac:spMkLst>
        </pc:spChg>
        <pc:spChg chg="mod">
          <ac:chgData name="Harald Wiebel" userId="46f20ed5-7ac5-4944-900f-7a869b779495" providerId="ADAL" clId="{22CFF064-83A8-424F-B2DB-CADEA287AE5C}" dt="2026-05-27T13:32:00.080" v="2915" actId="403"/>
          <ac:spMkLst>
            <pc:docMk/>
            <pc:sldMk cId="567190633" sldId="2134808722"/>
            <ac:spMk id="50" creationId="{426E0B95-2F35-3D90-60C2-DF49978837F9}"/>
          </ac:spMkLst>
        </pc:spChg>
        <pc:spChg chg="del">
          <ac:chgData name="Harald Wiebel" userId="46f20ed5-7ac5-4944-900f-7a869b779495" providerId="ADAL" clId="{22CFF064-83A8-424F-B2DB-CADEA287AE5C}" dt="2026-05-27T14:27:57.065" v="2975" actId="478"/>
          <ac:spMkLst>
            <pc:docMk/>
            <pc:sldMk cId="567190633" sldId="2134808722"/>
            <ac:spMk id="51" creationId="{059196D3-0D48-AD68-0563-99B6AAF4A91C}"/>
          </ac:spMkLst>
        </pc:spChg>
        <pc:spChg chg="mod">
          <ac:chgData name="Harald Wiebel" userId="46f20ed5-7ac5-4944-900f-7a869b779495" providerId="ADAL" clId="{22CFF064-83A8-424F-B2DB-CADEA287AE5C}" dt="2026-05-27T13:32:15.305" v="2917" actId="403"/>
          <ac:spMkLst>
            <pc:docMk/>
            <pc:sldMk cId="567190633" sldId="2134808722"/>
            <ac:spMk id="53" creationId="{508856B7-D473-2CC9-51D0-DB3FCE9A1EAD}"/>
          </ac:spMkLst>
        </pc:spChg>
        <pc:spChg chg="mod">
          <ac:chgData name="Harald Wiebel" userId="46f20ed5-7ac5-4944-900f-7a869b779495" providerId="ADAL" clId="{22CFF064-83A8-424F-B2DB-CADEA287AE5C}" dt="2026-05-27T13:31:41.420" v="2912" actId="255"/>
          <ac:spMkLst>
            <pc:docMk/>
            <pc:sldMk cId="567190633" sldId="2134808722"/>
            <ac:spMk id="56" creationId="{9C80019F-29AD-25DC-BB2D-A3AD934F5A9B}"/>
          </ac:spMkLst>
        </pc:spChg>
        <pc:spChg chg="mod">
          <ac:chgData name="Harald Wiebel" userId="46f20ed5-7ac5-4944-900f-7a869b779495" providerId="ADAL" clId="{22CFF064-83A8-424F-B2DB-CADEA287AE5C}" dt="2026-05-27T13:31:41.420" v="2912" actId="255"/>
          <ac:spMkLst>
            <pc:docMk/>
            <pc:sldMk cId="567190633" sldId="2134808722"/>
            <ac:spMk id="57" creationId="{05BDDE43-6F6F-32FF-983F-492235D1EBAA}"/>
          </ac:spMkLst>
        </pc:spChg>
        <pc:picChg chg="del">
          <ac:chgData name="Harald Wiebel" userId="46f20ed5-7ac5-4944-900f-7a869b779495" providerId="ADAL" clId="{22CFF064-83A8-424F-B2DB-CADEA287AE5C}" dt="2026-05-27T11:39:20.441" v="901" actId="478"/>
          <ac:picMkLst>
            <pc:docMk/>
            <pc:sldMk cId="567190633" sldId="2134808722"/>
            <ac:picMk id="8" creationId="{6C174353-CF76-D120-7430-63B0C31711AB}"/>
          </ac:picMkLst>
        </pc:picChg>
        <pc:picChg chg="del">
          <ac:chgData name="Harald Wiebel" userId="46f20ed5-7ac5-4944-900f-7a869b779495" providerId="ADAL" clId="{22CFF064-83A8-424F-B2DB-CADEA287AE5C}" dt="2026-05-27T11:40:22.250" v="945" actId="478"/>
          <ac:picMkLst>
            <pc:docMk/>
            <pc:sldMk cId="567190633" sldId="2134808722"/>
            <ac:picMk id="10" creationId="{C41459C7-B705-3DF8-1F5E-20B8DC40A7A3}"/>
          </ac:picMkLst>
        </pc:picChg>
        <pc:picChg chg="add mod">
          <ac:chgData name="Harald Wiebel" userId="46f20ed5-7ac5-4944-900f-7a869b779495" providerId="ADAL" clId="{22CFF064-83A8-424F-B2DB-CADEA287AE5C}" dt="2026-05-27T11:39:30.415" v="903" actId="1076"/>
          <ac:picMkLst>
            <pc:docMk/>
            <pc:sldMk cId="567190633" sldId="2134808722"/>
            <ac:picMk id="13" creationId="{C452358E-578D-D826-49D1-09922CD37D0A}"/>
          </ac:picMkLst>
        </pc:picChg>
        <pc:picChg chg="mod ord">
          <ac:chgData name="Harald Wiebel" userId="46f20ed5-7ac5-4944-900f-7a869b779495" providerId="ADAL" clId="{22CFF064-83A8-424F-B2DB-CADEA287AE5C}" dt="2026-05-27T11:39:18.014" v="900" actId="1035"/>
          <ac:picMkLst>
            <pc:docMk/>
            <pc:sldMk cId="567190633" sldId="2134808722"/>
            <ac:picMk id="18" creationId="{391034E0-C6A1-24B2-4B04-7F0830E1F6A0}"/>
          </ac:picMkLst>
        </pc:picChg>
        <pc:picChg chg="del">
          <ac:chgData name="Harald Wiebel" userId="46f20ed5-7ac5-4944-900f-7a869b779495" providerId="ADAL" clId="{22CFF064-83A8-424F-B2DB-CADEA287AE5C}" dt="2026-05-27T11:42:29.262" v="1032" actId="478"/>
          <ac:picMkLst>
            <pc:docMk/>
            <pc:sldMk cId="567190633" sldId="2134808722"/>
            <ac:picMk id="24" creationId="{D4EA2F7F-E049-845E-A248-66640218563C}"/>
          </ac:picMkLst>
        </pc:picChg>
        <pc:picChg chg="mod">
          <ac:chgData name="Harald Wiebel" userId="46f20ed5-7ac5-4944-900f-7a869b779495" providerId="ADAL" clId="{22CFF064-83A8-424F-B2DB-CADEA287AE5C}" dt="2026-05-27T11:38:45.389" v="875" actId="1076"/>
          <ac:picMkLst>
            <pc:docMk/>
            <pc:sldMk cId="567190633" sldId="2134808722"/>
            <ac:picMk id="30" creationId="{66368FCF-6A23-B897-9BD2-358489263029}"/>
          </ac:picMkLst>
        </pc:picChg>
        <pc:picChg chg="mod ord">
          <ac:chgData name="Harald Wiebel" userId="46f20ed5-7ac5-4944-900f-7a869b779495" providerId="ADAL" clId="{22CFF064-83A8-424F-B2DB-CADEA287AE5C}" dt="2026-05-27T12:38:48.430" v="1339" actId="1076"/>
          <ac:picMkLst>
            <pc:docMk/>
            <pc:sldMk cId="567190633" sldId="2134808722"/>
            <ac:picMk id="42" creationId="{6B2AE678-B43E-C147-F598-A630508B4F98}"/>
          </ac:picMkLst>
        </pc:picChg>
        <pc:picChg chg="mod">
          <ac:chgData name="Harald Wiebel" userId="46f20ed5-7ac5-4944-900f-7a869b779495" providerId="ADAL" clId="{22CFF064-83A8-424F-B2DB-CADEA287AE5C}" dt="2026-05-27T12:39:18.497" v="1406" actId="1076"/>
          <ac:picMkLst>
            <pc:docMk/>
            <pc:sldMk cId="567190633" sldId="2134808722"/>
            <ac:picMk id="48" creationId="{2E80F3C1-F5D3-EABF-AAEE-8CA7E1D72ED8}"/>
          </ac:picMkLst>
        </pc:picChg>
      </pc:sldChg>
      <pc:sldChg chg="addSp modSp del">
        <pc:chgData name="Harald Wiebel" userId="46f20ed5-7ac5-4944-900f-7a869b779495" providerId="ADAL" clId="{22CFF064-83A8-424F-B2DB-CADEA287AE5C}" dt="2026-05-27T13:25:21.649" v="2887" actId="47"/>
        <pc:sldMkLst>
          <pc:docMk/>
          <pc:sldMk cId="271826323" sldId="2134808723"/>
        </pc:sldMkLst>
        <pc:spChg chg="add mod">
          <ac:chgData name="Harald Wiebel" userId="46f20ed5-7ac5-4944-900f-7a869b779495" providerId="ADAL" clId="{22CFF064-83A8-424F-B2DB-CADEA287AE5C}" dt="2026-05-27T11:14:59.390" v="32"/>
          <ac:spMkLst>
            <pc:docMk/>
            <pc:sldMk cId="271826323" sldId="2134808723"/>
            <ac:spMk id="25" creationId="{BF14DE1F-FE99-0EC9-6D2B-A565E78C326E}"/>
          </ac:spMkLst>
        </pc:spChg>
      </pc:sldChg>
      <pc:sldChg chg="addSp modSp del">
        <pc:chgData name="Harald Wiebel" userId="46f20ed5-7ac5-4944-900f-7a869b779495" providerId="ADAL" clId="{22CFF064-83A8-424F-B2DB-CADEA287AE5C}" dt="2026-05-27T13:25:21.649" v="2887" actId="47"/>
        <pc:sldMkLst>
          <pc:docMk/>
          <pc:sldMk cId="26411896" sldId="2134808724"/>
        </pc:sldMkLst>
        <pc:spChg chg="add mod">
          <ac:chgData name="Harald Wiebel" userId="46f20ed5-7ac5-4944-900f-7a869b779495" providerId="ADAL" clId="{22CFF064-83A8-424F-B2DB-CADEA287AE5C}" dt="2026-05-27T11:15:10.202" v="40"/>
          <ac:spMkLst>
            <pc:docMk/>
            <pc:sldMk cId="26411896" sldId="2134808724"/>
            <ac:spMk id="13" creationId="{67A83A4A-49D3-C9B2-D82A-41787A16C941}"/>
          </ac:spMkLst>
        </pc:spChg>
      </pc:sldChg>
      <pc:sldChg chg="addSp modSp del">
        <pc:chgData name="Harald Wiebel" userId="46f20ed5-7ac5-4944-900f-7a869b779495" providerId="ADAL" clId="{22CFF064-83A8-424F-B2DB-CADEA287AE5C}" dt="2026-05-27T13:25:21.649" v="2887" actId="47"/>
        <pc:sldMkLst>
          <pc:docMk/>
          <pc:sldMk cId="4135317371" sldId="2134808728"/>
        </pc:sldMkLst>
        <pc:spChg chg="add mod">
          <ac:chgData name="Harald Wiebel" userId="46f20ed5-7ac5-4944-900f-7a869b779495" providerId="ADAL" clId="{22CFF064-83A8-424F-B2DB-CADEA287AE5C}" dt="2026-05-27T11:14:58.479" v="31"/>
          <ac:spMkLst>
            <pc:docMk/>
            <pc:sldMk cId="4135317371" sldId="2134808728"/>
            <ac:spMk id="5" creationId="{A25EC110-7816-1F22-F2DB-08C3C8589AB3}"/>
          </ac:spMkLst>
        </pc:spChg>
      </pc:sldChg>
      <pc:sldChg chg="addSp modSp del">
        <pc:chgData name="Harald Wiebel" userId="46f20ed5-7ac5-4944-900f-7a869b779495" providerId="ADAL" clId="{22CFF064-83A8-424F-B2DB-CADEA287AE5C}" dt="2026-05-27T13:25:21.649" v="2887" actId="47"/>
        <pc:sldMkLst>
          <pc:docMk/>
          <pc:sldMk cId="2943000390" sldId="2134808729"/>
        </pc:sldMkLst>
        <pc:spChg chg="add mod">
          <ac:chgData name="Harald Wiebel" userId="46f20ed5-7ac5-4944-900f-7a869b779495" providerId="ADAL" clId="{22CFF064-83A8-424F-B2DB-CADEA287AE5C}" dt="2026-05-27T11:15:11.103" v="41"/>
          <ac:spMkLst>
            <pc:docMk/>
            <pc:sldMk cId="2943000390" sldId="2134808729"/>
            <ac:spMk id="6" creationId="{001983A3-BC1A-45A2-D639-B90D012D0084}"/>
          </ac:spMkLst>
        </pc:spChg>
      </pc:sldChg>
      <pc:sldChg chg="addSp delSp modSp mod">
        <pc:chgData name="Harald Wiebel" userId="46f20ed5-7ac5-4944-900f-7a869b779495" providerId="ADAL" clId="{22CFF064-83A8-424F-B2DB-CADEA287AE5C}" dt="2026-05-27T14:23:26.204" v="2970" actId="20577"/>
        <pc:sldMkLst>
          <pc:docMk/>
          <pc:sldMk cId="3778613539" sldId="2134808730"/>
        </pc:sldMkLst>
        <pc:spChg chg="mod">
          <ac:chgData name="Harald Wiebel" userId="46f20ed5-7ac5-4944-900f-7a869b779495" providerId="ADAL" clId="{22CFF064-83A8-424F-B2DB-CADEA287AE5C}" dt="2026-05-27T14:23:26.204" v="2970" actId="20577"/>
          <ac:spMkLst>
            <pc:docMk/>
            <pc:sldMk cId="3778613539" sldId="2134808730"/>
            <ac:spMk id="2" creationId="{3C10CDCD-4A48-17FA-65FE-A73A9D3BFD9A}"/>
          </ac:spMkLst>
        </pc:spChg>
        <pc:spChg chg="add mod">
          <ac:chgData name="Harald Wiebel" userId="46f20ed5-7ac5-4944-900f-7a869b779495" providerId="ADAL" clId="{22CFF064-83A8-424F-B2DB-CADEA287AE5C}" dt="2026-05-27T11:14:49.996" v="22"/>
          <ac:spMkLst>
            <pc:docMk/>
            <pc:sldMk cId="3778613539" sldId="2134808730"/>
            <ac:spMk id="5" creationId="{D575079A-0E6F-3769-79AA-199672EF5470}"/>
          </ac:spMkLst>
        </pc:spChg>
        <pc:spChg chg="add mod">
          <ac:chgData name="Harald Wiebel" userId="46f20ed5-7ac5-4944-900f-7a869b779495" providerId="ADAL" clId="{22CFF064-83A8-424F-B2DB-CADEA287AE5C}" dt="2026-05-27T13:31:23.665" v="2909" actId="255"/>
          <ac:spMkLst>
            <pc:docMk/>
            <pc:sldMk cId="3778613539" sldId="2134808730"/>
            <ac:spMk id="6" creationId="{68DB7582-F8F6-EBFC-06B9-E8F259E187C3}"/>
          </ac:spMkLst>
        </pc:spChg>
        <pc:spChg chg="mod">
          <ac:chgData name="Harald Wiebel" userId="46f20ed5-7ac5-4944-900f-7a869b779495" providerId="ADAL" clId="{22CFF064-83A8-424F-B2DB-CADEA287AE5C}" dt="2026-05-27T11:23:04.190" v="465" actId="20577"/>
          <ac:spMkLst>
            <pc:docMk/>
            <pc:sldMk cId="3778613539" sldId="2134808730"/>
            <ac:spMk id="27" creationId="{E59288E6-3D7B-A02F-A482-901C38C2DA1A}"/>
          </ac:spMkLst>
        </pc:spChg>
        <pc:spChg chg="mod">
          <ac:chgData name="Harald Wiebel" userId="46f20ed5-7ac5-4944-900f-7a869b779495" providerId="ADAL" clId="{22CFF064-83A8-424F-B2DB-CADEA287AE5C}" dt="2026-05-27T11:23:10.649" v="480" actId="20577"/>
          <ac:spMkLst>
            <pc:docMk/>
            <pc:sldMk cId="3778613539" sldId="2134808730"/>
            <ac:spMk id="37" creationId="{18B46E48-4825-12E7-521A-27A1014032DE}"/>
          </ac:spMkLst>
        </pc:spChg>
        <pc:spChg chg="mod">
          <ac:chgData name="Harald Wiebel" userId="46f20ed5-7ac5-4944-900f-7a869b779495" providerId="ADAL" clId="{22CFF064-83A8-424F-B2DB-CADEA287AE5C}" dt="2026-05-27T13:31:12.405" v="2906" actId="403"/>
          <ac:spMkLst>
            <pc:docMk/>
            <pc:sldMk cId="3778613539" sldId="2134808730"/>
            <ac:spMk id="42" creationId="{986DE72F-F69D-8536-F7A8-4DCA93597A4D}"/>
          </ac:spMkLst>
        </pc:spChg>
        <pc:spChg chg="mod">
          <ac:chgData name="Harald Wiebel" userId="46f20ed5-7ac5-4944-900f-7a869b779495" providerId="ADAL" clId="{22CFF064-83A8-424F-B2DB-CADEA287AE5C}" dt="2026-05-27T13:31:12.405" v="2906" actId="403"/>
          <ac:spMkLst>
            <pc:docMk/>
            <pc:sldMk cId="3778613539" sldId="2134808730"/>
            <ac:spMk id="45" creationId="{B4C90076-1328-0687-0DB7-60C852E3FE57}"/>
          </ac:spMkLst>
        </pc:spChg>
        <pc:spChg chg="mod">
          <ac:chgData name="Harald Wiebel" userId="46f20ed5-7ac5-4944-900f-7a869b779495" providerId="ADAL" clId="{22CFF064-83A8-424F-B2DB-CADEA287AE5C}" dt="2026-05-27T13:31:12.405" v="2906" actId="403"/>
          <ac:spMkLst>
            <pc:docMk/>
            <pc:sldMk cId="3778613539" sldId="2134808730"/>
            <ac:spMk id="46" creationId="{014BBD8C-1DB0-BD71-C68D-66D67C9788DE}"/>
          </ac:spMkLst>
        </pc:spChg>
        <pc:spChg chg="mod">
          <ac:chgData name="Harald Wiebel" userId="46f20ed5-7ac5-4944-900f-7a869b779495" providerId="ADAL" clId="{22CFF064-83A8-424F-B2DB-CADEA287AE5C}" dt="2026-05-27T13:31:23.665" v="2909" actId="255"/>
          <ac:spMkLst>
            <pc:docMk/>
            <pc:sldMk cId="3778613539" sldId="2134808730"/>
            <ac:spMk id="57" creationId="{8D9BB439-D655-1BDC-E5F5-0E1CA4F3C07B}"/>
          </ac:spMkLst>
        </pc:spChg>
        <pc:spChg chg="del">
          <ac:chgData name="Harald Wiebel" userId="46f20ed5-7ac5-4944-900f-7a869b779495" providerId="ADAL" clId="{22CFF064-83A8-424F-B2DB-CADEA287AE5C}" dt="2026-05-27T11:23:47.209" v="519" actId="478"/>
          <ac:spMkLst>
            <pc:docMk/>
            <pc:sldMk cId="3778613539" sldId="2134808730"/>
            <ac:spMk id="62" creationId="{025690E7-6A40-9672-CEF5-19B36200981A}"/>
          </ac:spMkLst>
        </pc:spChg>
        <pc:spChg chg="mod">
          <ac:chgData name="Harald Wiebel" userId="46f20ed5-7ac5-4944-900f-7a869b779495" providerId="ADAL" clId="{22CFF064-83A8-424F-B2DB-CADEA287AE5C}" dt="2026-05-27T13:40:18.759" v="2954" actId="20577"/>
          <ac:spMkLst>
            <pc:docMk/>
            <pc:sldMk cId="3778613539" sldId="2134808730"/>
            <ac:spMk id="68" creationId="{F92839E2-298C-AF8B-6195-9E6032D80282}"/>
          </ac:spMkLst>
        </pc:spChg>
        <pc:spChg chg="mod">
          <ac:chgData name="Harald Wiebel" userId="46f20ed5-7ac5-4944-900f-7a869b779495" providerId="ADAL" clId="{22CFF064-83A8-424F-B2DB-CADEA287AE5C}" dt="2026-05-27T13:31:12.405" v="2906" actId="403"/>
          <ac:spMkLst>
            <pc:docMk/>
            <pc:sldMk cId="3778613539" sldId="2134808730"/>
            <ac:spMk id="74" creationId="{02B29D98-84B4-259E-88E9-6B1C9E317FDA}"/>
          </ac:spMkLst>
        </pc:spChg>
        <pc:spChg chg="mod">
          <ac:chgData name="Harald Wiebel" userId="46f20ed5-7ac5-4944-900f-7a869b779495" providerId="ADAL" clId="{22CFF064-83A8-424F-B2DB-CADEA287AE5C}" dt="2026-05-27T13:31:12.405" v="2906" actId="403"/>
          <ac:spMkLst>
            <pc:docMk/>
            <pc:sldMk cId="3778613539" sldId="2134808730"/>
            <ac:spMk id="75" creationId="{F543E839-81F6-8F73-43E0-7966961BC06E}"/>
          </ac:spMkLst>
        </pc:spChg>
        <pc:spChg chg="mod">
          <ac:chgData name="Harald Wiebel" userId="46f20ed5-7ac5-4944-900f-7a869b779495" providerId="ADAL" clId="{22CFF064-83A8-424F-B2DB-CADEA287AE5C}" dt="2026-05-27T13:40:26.208" v="2969" actId="20577"/>
          <ac:spMkLst>
            <pc:docMk/>
            <pc:sldMk cId="3778613539" sldId="2134808730"/>
            <ac:spMk id="82" creationId="{C054CDD4-0147-BE89-DB5F-2E6817BE7CEB}"/>
          </ac:spMkLst>
        </pc:spChg>
        <pc:spChg chg="mod">
          <ac:chgData name="Harald Wiebel" userId="46f20ed5-7ac5-4944-900f-7a869b779495" providerId="ADAL" clId="{22CFF064-83A8-424F-B2DB-CADEA287AE5C}" dt="2026-05-27T13:31:23.665" v="2909" actId="255"/>
          <ac:spMkLst>
            <pc:docMk/>
            <pc:sldMk cId="3778613539" sldId="2134808730"/>
            <ac:spMk id="94" creationId="{4DB8B8F4-148E-AB10-BC77-B352A33E708C}"/>
          </ac:spMkLst>
        </pc:spChg>
      </pc:sldChg>
      <pc:sldChg chg="addSp modSp del">
        <pc:chgData name="Harald Wiebel" userId="46f20ed5-7ac5-4944-900f-7a869b779495" providerId="ADAL" clId="{22CFF064-83A8-424F-B2DB-CADEA287AE5C}" dt="2026-05-27T13:25:21.649" v="2887" actId="47"/>
        <pc:sldMkLst>
          <pc:docMk/>
          <pc:sldMk cId="3782906536" sldId="2147481047"/>
        </pc:sldMkLst>
        <pc:spChg chg="add mod">
          <ac:chgData name="Harald Wiebel" userId="46f20ed5-7ac5-4944-900f-7a869b779495" providerId="ADAL" clId="{22CFF064-83A8-424F-B2DB-CADEA287AE5C}" dt="2026-05-27T11:15:06.938" v="37"/>
          <ac:spMkLst>
            <pc:docMk/>
            <pc:sldMk cId="3782906536" sldId="2147481047"/>
            <ac:spMk id="9" creationId="{032BDD57-DE9D-0324-FD23-1501576F4F00}"/>
          </ac:spMkLst>
        </pc:spChg>
      </pc:sldChg>
      <pc:sldChg chg="addSp modSp del">
        <pc:chgData name="Harald Wiebel" userId="46f20ed5-7ac5-4944-900f-7a869b779495" providerId="ADAL" clId="{22CFF064-83A8-424F-B2DB-CADEA287AE5C}" dt="2026-05-27T13:25:21.649" v="2887" actId="47"/>
        <pc:sldMkLst>
          <pc:docMk/>
          <pc:sldMk cId="3852994015" sldId="2147481048"/>
        </pc:sldMkLst>
        <pc:spChg chg="add mod">
          <ac:chgData name="Harald Wiebel" userId="46f20ed5-7ac5-4944-900f-7a869b779495" providerId="ADAL" clId="{22CFF064-83A8-424F-B2DB-CADEA287AE5C}" dt="2026-05-27T11:15:05.816" v="36"/>
          <ac:spMkLst>
            <pc:docMk/>
            <pc:sldMk cId="3852994015" sldId="2147481048"/>
            <ac:spMk id="8" creationId="{D312DBD2-805B-F85A-5C04-F8325782A917}"/>
          </ac:spMkLst>
        </pc:spChg>
      </pc:sldChg>
      <pc:sldChg chg="addSp modSp del">
        <pc:chgData name="Harald Wiebel" userId="46f20ed5-7ac5-4944-900f-7a869b779495" providerId="ADAL" clId="{22CFF064-83A8-424F-B2DB-CADEA287AE5C}" dt="2026-05-27T13:25:21.649" v="2887" actId="47"/>
        <pc:sldMkLst>
          <pc:docMk/>
          <pc:sldMk cId="2002571557" sldId="2147481049"/>
        </pc:sldMkLst>
        <pc:spChg chg="add mod">
          <ac:chgData name="Harald Wiebel" userId="46f20ed5-7ac5-4944-900f-7a869b779495" providerId="ADAL" clId="{22CFF064-83A8-424F-B2DB-CADEA287AE5C}" dt="2026-05-27T11:15:03.743" v="34"/>
          <ac:spMkLst>
            <pc:docMk/>
            <pc:sldMk cId="2002571557" sldId="2147481049"/>
            <ac:spMk id="8" creationId="{14A0E59F-28AD-EB1E-6343-54DAFE13869D}"/>
          </ac:spMkLst>
        </pc:spChg>
      </pc:sldChg>
      <pc:sldChg chg="addSp modSp del">
        <pc:chgData name="Harald Wiebel" userId="46f20ed5-7ac5-4944-900f-7a869b779495" providerId="ADAL" clId="{22CFF064-83A8-424F-B2DB-CADEA287AE5C}" dt="2026-05-27T13:25:21.649" v="2887" actId="47"/>
        <pc:sldMkLst>
          <pc:docMk/>
          <pc:sldMk cId="3070939596" sldId="2147481050"/>
        </pc:sldMkLst>
        <pc:spChg chg="add mod">
          <ac:chgData name="Harald Wiebel" userId="46f20ed5-7ac5-4944-900f-7a869b779495" providerId="ADAL" clId="{22CFF064-83A8-424F-B2DB-CADEA287AE5C}" dt="2026-05-27T11:14:53.711" v="26"/>
          <ac:spMkLst>
            <pc:docMk/>
            <pc:sldMk cId="3070939596" sldId="2147481050"/>
            <ac:spMk id="2" creationId="{8E741E91-9192-3328-D016-4544BCBAEA4A}"/>
          </ac:spMkLst>
        </pc:spChg>
      </pc:sldChg>
      <pc:sldChg chg="delSp modSp add mod ord">
        <pc:chgData name="Harald Wiebel" userId="46f20ed5-7ac5-4944-900f-7a869b779495" providerId="ADAL" clId="{22CFF064-83A8-424F-B2DB-CADEA287AE5C}" dt="2026-05-27T14:32:14.655" v="3088" actId="20577"/>
        <pc:sldMkLst>
          <pc:docMk/>
          <pc:sldMk cId="385323223" sldId="2147481051"/>
        </pc:sldMkLst>
        <pc:spChg chg="mod">
          <ac:chgData name="Harald Wiebel" userId="46f20ed5-7ac5-4944-900f-7a869b779495" providerId="ADAL" clId="{22CFF064-83A8-424F-B2DB-CADEA287AE5C}" dt="2026-05-27T12:58:48.628" v="1634" actId="20577"/>
          <ac:spMkLst>
            <pc:docMk/>
            <pc:sldMk cId="385323223" sldId="2147481051"/>
            <ac:spMk id="2" creationId="{68E3E5AC-2C66-D308-D61E-80968B7D2856}"/>
          </ac:spMkLst>
        </pc:spChg>
        <pc:spChg chg="mod">
          <ac:chgData name="Harald Wiebel" userId="46f20ed5-7ac5-4944-900f-7a869b779495" providerId="ADAL" clId="{22CFF064-83A8-424F-B2DB-CADEA287AE5C}" dt="2026-05-27T13:00:14.035" v="1673" actId="20577"/>
          <ac:spMkLst>
            <pc:docMk/>
            <pc:sldMk cId="385323223" sldId="2147481051"/>
            <ac:spMk id="7" creationId="{BB49535F-8F76-60CA-FD8A-153C8F4BF1F3}"/>
          </ac:spMkLst>
        </pc:spChg>
        <pc:spChg chg="mod">
          <ac:chgData name="Harald Wiebel" userId="46f20ed5-7ac5-4944-900f-7a869b779495" providerId="ADAL" clId="{22CFF064-83A8-424F-B2DB-CADEA287AE5C}" dt="2026-05-27T13:33:18.439" v="2935" actId="1036"/>
          <ac:spMkLst>
            <pc:docMk/>
            <pc:sldMk cId="385323223" sldId="2147481051"/>
            <ac:spMk id="8" creationId="{7A8B29D0-8D31-ACE8-E6E5-976B441F94C0}"/>
          </ac:spMkLst>
        </pc:spChg>
        <pc:spChg chg="mod">
          <ac:chgData name="Harald Wiebel" userId="46f20ed5-7ac5-4944-900f-7a869b779495" providerId="ADAL" clId="{22CFF064-83A8-424F-B2DB-CADEA287AE5C}" dt="2026-05-27T13:33:18.439" v="2935" actId="1036"/>
          <ac:spMkLst>
            <pc:docMk/>
            <pc:sldMk cId="385323223" sldId="2147481051"/>
            <ac:spMk id="9" creationId="{DD9FA79B-046E-E9CB-5848-F5AFE0222BDE}"/>
          </ac:spMkLst>
        </pc:spChg>
        <pc:spChg chg="mod">
          <ac:chgData name="Harald Wiebel" userId="46f20ed5-7ac5-4944-900f-7a869b779495" providerId="ADAL" clId="{22CFF064-83A8-424F-B2DB-CADEA287AE5C}" dt="2026-05-27T13:33:23.040" v="2937" actId="403"/>
          <ac:spMkLst>
            <pc:docMk/>
            <pc:sldMk cId="385323223" sldId="2147481051"/>
            <ac:spMk id="11" creationId="{D4E2C455-E752-DDC4-B0D0-25BD1A13B08C}"/>
          </ac:spMkLst>
        </pc:spChg>
        <pc:spChg chg="del">
          <ac:chgData name="Harald Wiebel" userId="46f20ed5-7ac5-4944-900f-7a869b779495" providerId="ADAL" clId="{22CFF064-83A8-424F-B2DB-CADEA287AE5C}" dt="2026-05-27T13:01:19.139" v="1735" actId="478"/>
          <ac:spMkLst>
            <pc:docMk/>
            <pc:sldMk cId="385323223" sldId="2147481051"/>
            <ac:spMk id="12" creationId="{F3B77A46-DD23-A7E4-3852-9515A021531E}"/>
          </ac:spMkLst>
        </pc:spChg>
        <pc:spChg chg="del">
          <ac:chgData name="Harald Wiebel" userId="46f20ed5-7ac5-4944-900f-7a869b779495" providerId="ADAL" clId="{22CFF064-83A8-424F-B2DB-CADEA287AE5C}" dt="2026-05-27T13:01:26.137" v="1736" actId="478"/>
          <ac:spMkLst>
            <pc:docMk/>
            <pc:sldMk cId="385323223" sldId="2147481051"/>
            <ac:spMk id="15" creationId="{1B5EFE1C-F0CD-413C-7631-AB79AC5FB831}"/>
          </ac:spMkLst>
        </pc:spChg>
        <pc:spChg chg="mod">
          <ac:chgData name="Harald Wiebel" userId="46f20ed5-7ac5-4944-900f-7a869b779495" providerId="ADAL" clId="{22CFF064-83A8-424F-B2DB-CADEA287AE5C}" dt="2026-05-27T13:03:02.553" v="1794" actId="20577"/>
          <ac:spMkLst>
            <pc:docMk/>
            <pc:sldMk cId="385323223" sldId="2147481051"/>
            <ac:spMk id="16" creationId="{67C8B8F0-2360-06CD-6D79-623E1F2DF826}"/>
          </ac:spMkLst>
        </pc:spChg>
        <pc:spChg chg="mod">
          <ac:chgData name="Harald Wiebel" userId="46f20ed5-7ac5-4944-900f-7a869b779495" providerId="ADAL" clId="{22CFF064-83A8-424F-B2DB-CADEA287AE5C}" dt="2026-05-27T13:33:18.439" v="2935" actId="1036"/>
          <ac:spMkLst>
            <pc:docMk/>
            <pc:sldMk cId="385323223" sldId="2147481051"/>
            <ac:spMk id="17" creationId="{C73C98CE-D973-E211-F900-609531D9CC20}"/>
          </ac:spMkLst>
        </pc:spChg>
        <pc:spChg chg="mod">
          <ac:chgData name="Harald Wiebel" userId="46f20ed5-7ac5-4944-900f-7a869b779495" providerId="ADAL" clId="{22CFF064-83A8-424F-B2DB-CADEA287AE5C}" dt="2026-05-27T13:33:23.040" v="2937" actId="403"/>
          <ac:spMkLst>
            <pc:docMk/>
            <pc:sldMk cId="385323223" sldId="2147481051"/>
            <ac:spMk id="19" creationId="{4D672ED8-FE24-E8C4-5750-C2CD1C91D155}"/>
          </ac:spMkLst>
        </pc:spChg>
        <pc:spChg chg="del">
          <ac:chgData name="Harald Wiebel" userId="46f20ed5-7ac5-4944-900f-7a869b779495" providerId="ADAL" clId="{22CFF064-83A8-424F-B2DB-CADEA287AE5C}" dt="2026-05-27T13:05:55.897" v="1954" actId="478"/>
          <ac:spMkLst>
            <pc:docMk/>
            <pc:sldMk cId="385323223" sldId="2147481051"/>
            <ac:spMk id="20" creationId="{4E81D05B-96CC-3D50-E434-B3EFF890A394}"/>
          </ac:spMkLst>
        </pc:spChg>
        <pc:spChg chg="mod">
          <ac:chgData name="Harald Wiebel" userId="46f20ed5-7ac5-4944-900f-7a869b779495" providerId="ADAL" clId="{22CFF064-83A8-424F-B2DB-CADEA287AE5C}" dt="2026-05-27T14:32:14.655" v="3088" actId="20577"/>
          <ac:spMkLst>
            <pc:docMk/>
            <pc:sldMk cId="385323223" sldId="2147481051"/>
            <ac:spMk id="23" creationId="{C0A04253-248F-5876-6F22-5E194D12CF81}"/>
          </ac:spMkLst>
        </pc:spChg>
        <pc:spChg chg="mod">
          <ac:chgData name="Harald Wiebel" userId="46f20ed5-7ac5-4944-900f-7a869b779495" providerId="ADAL" clId="{22CFF064-83A8-424F-B2DB-CADEA287AE5C}" dt="2026-05-27T14:32:10.333" v="3075" actId="20577"/>
          <ac:spMkLst>
            <pc:docMk/>
            <pc:sldMk cId="385323223" sldId="2147481051"/>
            <ac:spMk id="24" creationId="{2523D84C-8565-69AF-63C9-6FFAD5C29FBF}"/>
          </ac:spMkLst>
        </pc:spChg>
        <pc:spChg chg="mod">
          <ac:chgData name="Harald Wiebel" userId="46f20ed5-7ac5-4944-900f-7a869b779495" providerId="ADAL" clId="{22CFF064-83A8-424F-B2DB-CADEA287AE5C}" dt="2026-05-27T13:09:36.063" v="2015" actId="20577"/>
          <ac:spMkLst>
            <pc:docMk/>
            <pc:sldMk cId="385323223" sldId="2147481051"/>
            <ac:spMk id="30" creationId="{6FD99960-C2B1-D2DB-3984-EF698CAF5C3E}"/>
          </ac:spMkLst>
        </pc:spChg>
        <pc:spChg chg="mod">
          <ac:chgData name="Harald Wiebel" userId="46f20ed5-7ac5-4944-900f-7a869b779495" providerId="ADAL" clId="{22CFF064-83A8-424F-B2DB-CADEA287AE5C}" dt="2026-05-27T13:32:45.550" v="2920" actId="2711"/>
          <ac:spMkLst>
            <pc:docMk/>
            <pc:sldMk cId="385323223" sldId="2147481051"/>
            <ac:spMk id="31" creationId="{F3EE2EAE-F784-31F6-AC3A-DE725413822B}"/>
          </ac:spMkLst>
        </pc:spChg>
        <pc:spChg chg="mod">
          <ac:chgData name="Harald Wiebel" userId="46f20ed5-7ac5-4944-900f-7a869b779495" providerId="ADAL" clId="{22CFF064-83A8-424F-B2DB-CADEA287AE5C}" dt="2026-05-27T13:09:07.286" v="1980" actId="20577"/>
          <ac:spMkLst>
            <pc:docMk/>
            <pc:sldMk cId="385323223" sldId="2147481051"/>
            <ac:spMk id="36" creationId="{42C6EF9C-DB75-E980-6D89-04B85E69D117}"/>
          </ac:spMkLst>
        </pc:spChg>
        <pc:spChg chg="mod">
          <ac:chgData name="Harald Wiebel" userId="46f20ed5-7ac5-4944-900f-7a869b779495" providerId="ADAL" clId="{22CFF064-83A8-424F-B2DB-CADEA287AE5C}" dt="2026-05-27T13:32:45.550" v="2920" actId="2711"/>
          <ac:spMkLst>
            <pc:docMk/>
            <pc:sldMk cId="385323223" sldId="2147481051"/>
            <ac:spMk id="37" creationId="{DCC4F6C2-0AE3-F7DE-8A8F-474CAB2579D2}"/>
          </ac:spMkLst>
        </pc:spChg>
        <pc:spChg chg="mod">
          <ac:chgData name="Harald Wiebel" userId="46f20ed5-7ac5-4944-900f-7a869b779495" providerId="ADAL" clId="{22CFF064-83A8-424F-B2DB-CADEA287AE5C}" dt="2026-05-27T13:09:15.858" v="1992" actId="20577"/>
          <ac:spMkLst>
            <pc:docMk/>
            <pc:sldMk cId="385323223" sldId="2147481051"/>
            <ac:spMk id="42" creationId="{77D20551-5ABD-0173-3C6F-2587085871C8}"/>
          </ac:spMkLst>
        </pc:spChg>
        <pc:spChg chg="mod">
          <ac:chgData name="Harald Wiebel" userId="46f20ed5-7ac5-4944-900f-7a869b779495" providerId="ADAL" clId="{22CFF064-83A8-424F-B2DB-CADEA287AE5C}" dt="2026-05-27T14:31:26.591" v="3024" actId="20577"/>
          <ac:spMkLst>
            <pc:docMk/>
            <pc:sldMk cId="385323223" sldId="2147481051"/>
            <ac:spMk id="43" creationId="{06EB551A-00BA-325F-C24E-DC7C34C62B94}"/>
          </ac:spMkLst>
        </pc:spChg>
        <pc:spChg chg="mod">
          <ac:chgData name="Harald Wiebel" userId="46f20ed5-7ac5-4944-900f-7a869b779495" providerId="ADAL" clId="{22CFF064-83A8-424F-B2DB-CADEA287AE5C}" dt="2026-05-27T13:09:27.469" v="2014" actId="20577"/>
          <ac:spMkLst>
            <pc:docMk/>
            <pc:sldMk cId="385323223" sldId="2147481051"/>
            <ac:spMk id="48" creationId="{04A7A925-6A46-7758-2039-1CCD2F2CFB31}"/>
          </ac:spMkLst>
        </pc:spChg>
        <pc:spChg chg="mod">
          <ac:chgData name="Harald Wiebel" userId="46f20ed5-7ac5-4944-900f-7a869b779495" providerId="ADAL" clId="{22CFF064-83A8-424F-B2DB-CADEA287AE5C}" dt="2026-05-27T13:32:45.550" v="2920" actId="2711"/>
          <ac:spMkLst>
            <pc:docMk/>
            <pc:sldMk cId="385323223" sldId="2147481051"/>
            <ac:spMk id="49" creationId="{95795270-BC02-EF0C-52F8-EF10ADC3D6D0}"/>
          </ac:spMkLst>
        </pc:spChg>
        <pc:spChg chg="mod">
          <ac:chgData name="Harald Wiebel" userId="46f20ed5-7ac5-4944-900f-7a869b779495" providerId="ADAL" clId="{22CFF064-83A8-424F-B2DB-CADEA287AE5C}" dt="2026-05-27T13:33:31.635" v="2940" actId="403"/>
          <ac:spMkLst>
            <pc:docMk/>
            <pc:sldMk cId="385323223" sldId="2147481051"/>
            <ac:spMk id="51" creationId="{5C453333-FB6E-CB17-E1C9-7BF1E3C1F97F}"/>
          </ac:spMkLst>
        </pc:spChg>
      </pc:sldChg>
      <pc:sldMasterChg chg="delSldLayout">
        <pc:chgData name="Harald Wiebel" userId="46f20ed5-7ac5-4944-900f-7a869b779495" providerId="ADAL" clId="{22CFF064-83A8-424F-B2DB-CADEA287AE5C}" dt="2026-05-27T13:25:21.649" v="2887" actId="47"/>
        <pc:sldMasterMkLst>
          <pc:docMk/>
          <pc:sldMasterMk cId="2264729620" sldId="2147483648"/>
        </pc:sldMasterMkLst>
        <pc:sldLayoutChg chg="del">
          <pc:chgData name="Harald Wiebel" userId="46f20ed5-7ac5-4944-900f-7a869b779495" providerId="ADAL" clId="{22CFF064-83A8-424F-B2DB-CADEA287AE5C}" dt="2026-05-27T13:25:21.649" v="2887" actId="47"/>
          <pc:sldLayoutMkLst>
            <pc:docMk/>
            <pc:sldMasterMk cId="2264729620" sldId="2147483648"/>
            <pc:sldLayoutMk cId="1768271503" sldId="2147483693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8516C2E7-8540-4217-9C5C-82CED565E1C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4283" cy="4982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7DECC7A-7509-4FCD-8791-5B18E91F788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48645" y="0"/>
            <a:ext cx="2944283" cy="4982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0793E3-4E5B-45F7-BE2C-54013C83C5C6}" type="datetimeFigureOut">
              <a:rPr lang="de-DE" smtClean="0"/>
              <a:t>27.05.2026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2229555-16A5-42E5-AA9F-FAA6D98CA82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1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76E7386-D43A-4656-88C8-3A9BCA087FC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48645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4EDE44D-4B77-4836-9946-DA3A9454836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2591073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4283" cy="4982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8645" y="0"/>
            <a:ext cx="2944283" cy="4982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C016CE-D1C5-49C4-80E2-0D9620CCFAF0}" type="datetimeFigureOut">
              <a:rPr lang="de-DE" smtClean="0"/>
              <a:t>27.05.202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1241425"/>
            <a:ext cx="5956300" cy="3351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0" y="4779486"/>
            <a:ext cx="5435600" cy="391048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8645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BB8B26E-90DD-4F75-9543-DF10C34D64F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636361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B8B26E-90DD-4F75-9543-DF10C34D64F7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858264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B8B26E-90DD-4F75-9543-DF10C34D64F7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8593658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B8B26E-90DD-4F75-9543-DF10C34D64F7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18326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3.sv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3.sv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3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3.sv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3.sv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3.sv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3.sv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3.sv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1.emf"/><Relationship Id="rId4" Type="http://schemas.openxmlformats.org/officeDocument/2006/relationships/image" Target="../media/image13.svg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sv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sv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sv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3.sv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3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(Weiß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C9D9ACEB-D8E9-68EA-5148-09A355FCB1B2}"/>
              </a:ext>
            </a:extLst>
          </p:cNvPr>
          <p:cNvSpPr/>
          <p:nvPr userDrawn="1"/>
        </p:nvSpPr>
        <p:spPr bwMode="gray">
          <a:xfrm>
            <a:off x="0" y="288000"/>
            <a:ext cx="12192000" cy="657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2"/>
              </a:buClr>
            </a:pPr>
            <a:endParaRPr lang="de-DE" sz="160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246A6EC-3E05-4D6A-90AC-32BADE329B9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9652" y="1600200"/>
            <a:ext cx="11240873" cy="2764904"/>
          </a:xfrm>
        </p:spPr>
        <p:txBody>
          <a:bodyPr anchor="b"/>
          <a:lstStyle>
            <a:lvl1pPr algn="l">
              <a:defRPr sz="4800" b="1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D9B9821B-D7E4-454E-A8E2-C60C1507FD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9652" y="4392005"/>
            <a:ext cx="11240873" cy="683654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200" b="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pic>
        <p:nvPicPr>
          <p:cNvPr id="8" name="DBLOGO_FIX">
            <a:extLst>
              <a:ext uri="{FF2B5EF4-FFF2-40B4-BE49-F238E27FC236}">
                <a16:creationId xmlns:a16="http://schemas.microsoft.com/office/drawing/2014/main" id="{AA49C202-A02A-4B01-B936-D0FA74FB8D5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9771" y="511987"/>
            <a:ext cx="1220486" cy="854506"/>
          </a:xfrm>
          <a:prstGeom prst="rect">
            <a:avLst/>
          </a:prstGeom>
        </p:spPr>
      </p:pic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27B272F-0A02-4556-8035-1AFBA703708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9652" y="5928611"/>
            <a:ext cx="11240873" cy="38070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0">
                <a:latin typeface="+mj-lt"/>
              </a:defRPr>
            </a:lvl1pPr>
          </a:lstStyle>
          <a:p>
            <a:pPr lvl="0"/>
            <a:r>
              <a:rPr lang="de-DE"/>
              <a:t>Datum | Ort</a:t>
            </a:r>
          </a:p>
        </p:txBody>
      </p:sp>
      <p:sp>
        <p:nvSpPr>
          <p:cNvPr id="11" name="PULS_FIX">
            <a:extLst>
              <a:ext uri="{FF2B5EF4-FFF2-40B4-BE49-F238E27FC236}">
                <a16:creationId xmlns:a16="http://schemas.microsoft.com/office/drawing/2014/main" id="{AC45A34D-75DC-4BA7-88F8-5CBA85EE7F5A}"/>
              </a:ext>
            </a:extLst>
          </p:cNvPr>
          <p:cNvSpPr/>
          <p:nvPr userDrawn="1"/>
        </p:nvSpPr>
        <p:spPr>
          <a:xfrm>
            <a:off x="579652" y="5467614"/>
            <a:ext cx="1220724" cy="12162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EC25E10E-126C-14E6-6DA7-D1C1C1BABBA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956437" y="5879130"/>
            <a:ext cx="1628775" cy="314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95546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(Weiß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80E10FB-DB28-4159-ABFD-2E84010A9B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980728"/>
            <a:ext cx="11449050" cy="1836204"/>
          </a:xfrm>
        </p:spPr>
        <p:txBody>
          <a:bodyPr anchor="b"/>
          <a:lstStyle>
            <a:lvl1pPr>
              <a:defRPr sz="5400" b="1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B538E46-C847-44FA-A5BC-C63FF58B56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3.06.2026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EC4D224-C30D-405E-A5EE-0DB17C1D8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D9F7D-0C28-4C21-AA99-7C67E34F632A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19DF05F-72AD-4B24-A27F-09516995237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1475" y="3789041"/>
            <a:ext cx="5545137" cy="234029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A4574D2F-0500-4A13-8529-ED82FC3897C9}"/>
              </a:ext>
            </a:extLst>
          </p:cNvPr>
          <p:cNvSpPr/>
          <p:nvPr userDrawn="1"/>
        </p:nvSpPr>
        <p:spPr>
          <a:xfrm>
            <a:off x="374776" y="3068960"/>
            <a:ext cx="1220724" cy="12162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450596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(Bild, Logo Rot)">
    <p:bg>
      <p:bgPr>
        <a:solidFill>
          <a:schemeClr val="tx1">
            <a:alpha val="84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F8EFF006-54B8-4823-B83A-1C9F7B6FA06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-1" y="0"/>
            <a:ext cx="12192001" cy="6858000"/>
          </a:xfrm>
          <a:noFill/>
        </p:spPr>
        <p:txBody>
          <a:bodyPr tIns="360000" anchor="t"/>
          <a:lstStyle>
            <a:lvl1pPr marL="0" indent="0" algn="ctr" defTabSz="9144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DB Neo Office" pitchFamily="2" charset="0"/>
              <a:buNone/>
              <a:defRPr/>
            </a:lvl1pPr>
          </a:lstStyle>
          <a:p>
            <a:r>
              <a:rPr lang="de-DE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0E10FB-DB28-4159-ABFD-2E84010A9B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980728"/>
            <a:ext cx="11449050" cy="1836204"/>
          </a:xfrm>
        </p:spPr>
        <p:txBody>
          <a:bodyPr anchor="b"/>
          <a:lstStyle>
            <a:lvl1pPr>
              <a:defRPr sz="5400" b="1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B538E46-C847-44FA-A5BC-C63FF58B56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03.06.2026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EC4D224-C30D-405E-A5EE-0DB17C1D8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13D9F7D-0C28-4C21-AA99-7C67E34F632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19DF05F-72AD-4B24-A27F-09516995237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1475" y="3789041"/>
            <a:ext cx="5545137" cy="234029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9B825A7-CC36-4592-BA09-A6FA6C29D83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4776" y="3068960"/>
            <a:ext cx="1220724" cy="12162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10" name="PULS">
            <a:extLst>
              <a:ext uri="{FF2B5EF4-FFF2-40B4-BE49-F238E27FC236}">
                <a16:creationId xmlns:a16="http://schemas.microsoft.com/office/drawing/2014/main" id="{B27FFED9-1D10-457A-BB20-AF5C3651EB6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280903" y="6472802"/>
            <a:ext cx="533272" cy="49581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4" name="DBLOGO">
            <a:extLst>
              <a:ext uri="{FF2B5EF4-FFF2-40B4-BE49-F238E27FC236}">
                <a16:creationId xmlns:a16="http://schemas.microsoft.com/office/drawing/2014/main" id="{BB9B65B1-AEA7-4F44-90D7-B91E0C3A1DF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280903" y="368660"/>
            <a:ext cx="539622" cy="378000"/>
          </a:xfrm>
          <a:blipFill>
            <a:blip r:embed="rId2"/>
            <a:stretch>
              <a:fillRect/>
            </a:stretch>
          </a:blipFill>
        </p:spPr>
        <p:txBody>
          <a:bodyPr vert="horz" lIns="0" tIns="0" rIns="0" bIns="0" rtlCol="0"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de-DE" sz="1000" dirty="0">
                <a:solidFill>
                  <a:schemeClr val="bg1"/>
                </a:solidFill>
              </a:defRPr>
            </a:lvl1pPr>
          </a:lstStyle>
          <a:p>
            <a:pPr marL="182563" lvl="0" indent="-182563"/>
            <a:r>
              <a:rPr lang="de-DE"/>
              <a:t> </a:t>
            </a:r>
          </a:p>
        </p:txBody>
      </p:sp>
      <p:sp>
        <p:nvSpPr>
          <p:cNvPr id="12" name="CUSTOMLOGO">
            <a:extLst>
              <a:ext uri="{FF2B5EF4-FFF2-40B4-BE49-F238E27FC236}">
                <a16:creationId xmlns:a16="http://schemas.microsoft.com/office/drawing/2014/main" id="{8C3C1A15-37F1-4AE1-BFFE-A41EEEDBF2F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3490" y="6467874"/>
            <a:ext cx="685800" cy="13335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00">
                <a:solidFill>
                  <a:srgbClr val="FFFFFF"/>
                </a:solidFill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1651580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(Bild, Logo Weiß)">
    <p:bg>
      <p:bgPr>
        <a:solidFill>
          <a:schemeClr val="tx1">
            <a:alpha val="84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F8EFF006-54B8-4823-B83A-1C9F7B6FA06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-1" y="0"/>
            <a:ext cx="12192001" cy="6858000"/>
          </a:xfrm>
          <a:noFill/>
        </p:spPr>
        <p:txBody>
          <a:bodyPr tIns="360000" anchor="t"/>
          <a:lstStyle>
            <a:lvl1pPr marL="0" indent="0" algn="ctr" defTabSz="9144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DB Neo Office" pitchFamily="2" charset="0"/>
              <a:buNone/>
              <a:defRPr/>
            </a:lvl1pPr>
          </a:lstStyle>
          <a:p>
            <a:r>
              <a:rPr lang="de-DE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0E10FB-DB28-4159-ABFD-2E84010A9B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980728"/>
            <a:ext cx="11449050" cy="1836204"/>
          </a:xfrm>
        </p:spPr>
        <p:txBody>
          <a:bodyPr anchor="b"/>
          <a:lstStyle>
            <a:lvl1pPr>
              <a:defRPr sz="5400" b="1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B538E46-C847-44FA-A5BC-C63FF58B56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03.06.2026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EC4D224-C30D-405E-A5EE-0DB17C1D8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13D9F7D-0C28-4C21-AA99-7C67E34F632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19DF05F-72AD-4B24-A27F-09516995237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1475" y="3789041"/>
            <a:ext cx="5545137" cy="2340298"/>
          </a:xfrm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7357" dir="2700000" rotWithShape="0">
                    <a:scrgbClr r="0" g="0" b="0"/>
                  </a:outerShdw>
                </a:effectLst>
              </a14:hiddenEffects>
            </a:ext>
          </a:extLst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9B825A7-CC36-4592-BA09-A6FA6C29D83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4776" y="3068960"/>
            <a:ext cx="1220724" cy="12162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7357" dir="2700000" rotWithShape="0">
                    <a:scrgbClr r="0" g="0" b="0"/>
                  </a:outerShdw>
                </a:effectLst>
              </a14:hiddenEffects>
            </a:ext>
          </a:extLst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10" name="PULS">
            <a:extLst>
              <a:ext uri="{FF2B5EF4-FFF2-40B4-BE49-F238E27FC236}">
                <a16:creationId xmlns:a16="http://schemas.microsoft.com/office/drawing/2014/main" id="{B27FFED9-1D10-457A-BB20-AF5C3651EB6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280903" y="6472802"/>
            <a:ext cx="533272" cy="49581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7357" dir="2700000" rotWithShape="0">
                    <a:scrgbClr r="0" g="0" b="0"/>
                  </a:outerShdw>
                </a:effectLst>
              </a14:hiddenEffects>
            </a:ext>
          </a:extLst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4" name="DBLOGO">
            <a:extLst>
              <a:ext uri="{FF2B5EF4-FFF2-40B4-BE49-F238E27FC236}">
                <a16:creationId xmlns:a16="http://schemas.microsoft.com/office/drawing/2014/main" id="{BB9B65B1-AEA7-4F44-90D7-B91E0C3A1DF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280903" y="368660"/>
            <a:ext cx="539622" cy="378000"/>
          </a:xfrm>
          <a:blipFill>
            <a:blip r:embed="rId2"/>
            <a:stretch>
              <a:fillRect/>
            </a:stretch>
          </a:blip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7357" dir="2700000" rotWithShape="0">
                    <a:scrgbClr r="0" g="0" b="0"/>
                  </a:outerShdw>
                </a:effectLst>
              </a14:hiddenEffects>
            </a:ext>
          </a:extLst>
        </p:spPr>
        <p:txBody>
          <a:bodyPr vert="horz" lIns="0" tIns="0" rIns="0" bIns="0" rtlCol="0" anchor="t" anchorCtr="0">
            <a:noAutofit/>
          </a:bodyPr>
          <a:lstStyle>
            <a:lvl1pPr marL="228600" indent="-228600">
              <a:lnSpc>
                <a:spcPct val="105000"/>
              </a:lnSpc>
              <a:buFont typeface="Arial" panose="020B0604020202020204" pitchFamily="34" charset="0"/>
              <a:buChar char="•"/>
              <a:defRPr lang="de-DE" sz="1000" dirty="0">
                <a:solidFill>
                  <a:schemeClr val="bg1"/>
                </a:solidFill>
              </a:defRPr>
            </a:lvl1pPr>
          </a:lstStyle>
          <a:p>
            <a:pPr marL="182563" lvl="0" indent="-182563"/>
            <a:r>
              <a:rPr lang="de-DE"/>
              <a:t> </a:t>
            </a:r>
          </a:p>
        </p:txBody>
      </p:sp>
      <p:sp>
        <p:nvSpPr>
          <p:cNvPr id="12" name="CUSTOMLOGO">
            <a:extLst>
              <a:ext uri="{FF2B5EF4-FFF2-40B4-BE49-F238E27FC236}">
                <a16:creationId xmlns:a16="http://schemas.microsoft.com/office/drawing/2014/main" id="{4F2CD70C-11A0-496A-AE07-9DD47E16BC0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3490" y="6467874"/>
            <a:ext cx="685800" cy="13335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7357" dir="2700000" rotWithShape="0">
                    <a:scrgbClr r="0" g="0" b="0"/>
                  </a:outerShdw>
                </a:effectLst>
              </a14:hiddenEffects>
            </a:ext>
          </a:extLst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00">
                <a:solidFill>
                  <a:srgbClr val="FFFFFF"/>
                </a:solidFill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6293172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80E10FB-DB28-4159-ABFD-2E84010A9B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B538E46-C847-44FA-A5BC-C63FF58B56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03.06.2026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EC4D224-C30D-405E-A5EE-0DB17C1D8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D9F7D-0C28-4C21-AA99-7C67E34F632A}" type="slidenum">
              <a:rPr lang="de-DE" smtClean="0"/>
              <a:t>‹Nr.›</a:t>
            </a:fld>
            <a:endParaRPr lang="de-DE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43CB751F-9E6E-4899-A573-910F22F0D83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71475" y="1449388"/>
            <a:ext cx="11449049" cy="4679950"/>
          </a:xfrm>
        </p:spPr>
        <p:txBody>
          <a:bodyPr/>
          <a:lstStyle>
            <a:lvl1pPr>
              <a:lnSpc>
                <a:spcPct val="105000"/>
              </a:lnSpc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14482311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80E10FB-DB28-4159-ABFD-2E84010A9B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B538E46-C847-44FA-A5BC-C63FF58B56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03.06.2026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EC4D224-C30D-405E-A5EE-0DB17C1D8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D9F7D-0C28-4C21-AA99-7C67E34F632A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98887A16-E540-417F-AEC5-F4B0FFDF4A7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71475" y="1449388"/>
            <a:ext cx="5545138" cy="4679950"/>
          </a:xfrm>
        </p:spPr>
        <p:txBody>
          <a:bodyPr/>
          <a:lstStyle>
            <a:lvl1pPr>
              <a:lnSpc>
                <a:spcPct val="105000"/>
              </a:lnSpc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Inhaltsplatzhalter 8">
            <a:extLst>
              <a:ext uri="{FF2B5EF4-FFF2-40B4-BE49-F238E27FC236}">
                <a16:creationId xmlns:a16="http://schemas.microsoft.com/office/drawing/2014/main" id="{73A4453B-BB6A-434B-9D58-17979C3C6A7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275387" y="1449388"/>
            <a:ext cx="5545138" cy="4679950"/>
          </a:xfrm>
        </p:spPr>
        <p:txBody>
          <a:bodyPr/>
          <a:lstStyle>
            <a:lvl1pPr>
              <a:lnSpc>
                <a:spcPct val="105000"/>
              </a:lnSpc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3059360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 (link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9E8E2C43-FDD0-456E-A273-CCBA60D8491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72060" y="1449388"/>
            <a:ext cx="5543940" cy="4679950"/>
          </a:xfrm>
          <a:prstGeom prst="roundRect">
            <a:avLst>
              <a:gd name="adj" fmla="val 2308"/>
            </a:avLst>
          </a:prstGeom>
          <a:solidFill>
            <a:srgbClr val="BFBFBF"/>
          </a:solidFill>
        </p:spPr>
        <p:txBody>
          <a:bodyPr tIns="360000" anchor="t"/>
          <a:lstStyle>
            <a:lvl1pPr marL="0" indent="0" algn="ctr" defTabSz="9144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DB Neo Office" pitchFamily="2" charset="0"/>
              <a:buNone/>
              <a:defRPr/>
            </a:lvl1pPr>
          </a:lstStyle>
          <a:p>
            <a:r>
              <a:rPr lang="de-DE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0E10FB-DB28-4159-ABFD-2E84010A9B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B538E46-C847-44FA-A5BC-C63FF58B56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de-DE"/>
              <a:t>03.06.2026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EC4D224-C30D-405E-A5EE-0DB17C1D8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13D9F7D-0C28-4C21-AA99-7C67E34F632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6AE5B13E-F925-44FA-A8D7-2CB14BB0A1B1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275388" y="1449388"/>
            <a:ext cx="5545137" cy="4679950"/>
          </a:xfrm>
        </p:spPr>
        <p:txBody>
          <a:bodyPr/>
          <a:lstStyle>
            <a:lvl1pPr>
              <a:lnSpc>
                <a:spcPct val="105000"/>
              </a:lnSpc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8985733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 (rech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9E8E2C43-FDD0-456E-A273-CCBA60D8491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276000" y="1449388"/>
            <a:ext cx="5543940" cy="4679950"/>
          </a:xfrm>
          <a:prstGeom prst="roundRect">
            <a:avLst>
              <a:gd name="adj" fmla="val 2308"/>
            </a:avLst>
          </a:prstGeom>
          <a:solidFill>
            <a:srgbClr val="BFBFBF"/>
          </a:solidFill>
        </p:spPr>
        <p:txBody>
          <a:bodyPr tIns="360000" anchor="t"/>
          <a:lstStyle>
            <a:lvl1pPr marL="0" indent="0" algn="ctr" defTabSz="9144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DB Neo Office" pitchFamily="2" charset="0"/>
              <a:buNone/>
              <a:defRPr/>
            </a:lvl1pPr>
          </a:lstStyle>
          <a:p>
            <a:r>
              <a:rPr lang="de-DE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0E10FB-DB28-4159-ABFD-2E84010A9B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B538E46-C847-44FA-A5BC-C63FF58B56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3.06.2026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EC4D224-C30D-405E-A5EE-0DB17C1D8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913D9F7D-0C28-4C21-AA99-7C67E34F632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6AE5B13E-F925-44FA-A8D7-2CB14BB0A1B1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78272" y="1449388"/>
            <a:ext cx="5545137" cy="4679950"/>
          </a:xfrm>
        </p:spPr>
        <p:txBody>
          <a:bodyPr/>
          <a:lstStyle>
            <a:lvl1pPr>
              <a:lnSpc>
                <a:spcPct val="105000"/>
              </a:lnSpc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PULS">
            <a:extLst>
              <a:ext uri="{FF2B5EF4-FFF2-40B4-BE49-F238E27FC236}">
                <a16:creationId xmlns:a16="http://schemas.microsoft.com/office/drawing/2014/main" id="{8E205B2A-24B4-4B2B-B293-149CBCB8D49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280903" y="6472802"/>
            <a:ext cx="533272" cy="49581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9398546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mit Titel (Logo Ro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10">
            <a:extLst>
              <a:ext uri="{FF2B5EF4-FFF2-40B4-BE49-F238E27FC236}">
                <a16:creationId xmlns:a16="http://schemas.microsoft.com/office/drawing/2014/main" id="{E63F0EF0-6751-42DD-8EAD-C8E847AA5F4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-1" y="0"/>
            <a:ext cx="12192001" cy="6858000"/>
          </a:xfrm>
          <a:solidFill>
            <a:srgbClr val="BFBFBF"/>
          </a:solidFill>
        </p:spPr>
        <p:txBody>
          <a:bodyPr tIns="360000" anchor="t"/>
          <a:lstStyle>
            <a:lvl1pPr marL="0" indent="0" algn="ctr" defTabSz="9144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DB Neo Office" pitchFamily="2" charset="0"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 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D45B80E-FA5E-4414-8A23-82CAB8E0D0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03.06.2026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01E907B-F3FD-4F7E-979E-473985CA80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13D9F7D-0C28-4C21-AA99-7C67E34F632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PULS">
            <a:extLst>
              <a:ext uri="{FF2B5EF4-FFF2-40B4-BE49-F238E27FC236}">
                <a16:creationId xmlns:a16="http://schemas.microsoft.com/office/drawing/2014/main" id="{0B07DB40-DBD6-4EA1-8E67-8EA03178A60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280903" y="6472802"/>
            <a:ext cx="533272" cy="49581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10" name="DBLOGO">
            <a:extLst>
              <a:ext uri="{FF2B5EF4-FFF2-40B4-BE49-F238E27FC236}">
                <a16:creationId xmlns:a16="http://schemas.microsoft.com/office/drawing/2014/main" id="{63C11FEC-D812-4EB3-9A64-42F1696D70D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280903" y="368660"/>
            <a:ext cx="539622" cy="378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52ACBF4-EBE4-4F98-8E18-5619C05FB6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11" name="CUSTOMLOGO">
            <a:extLst>
              <a:ext uri="{FF2B5EF4-FFF2-40B4-BE49-F238E27FC236}">
                <a16:creationId xmlns:a16="http://schemas.microsoft.com/office/drawing/2014/main" id="{0C2ED98B-47C2-46D1-B533-2D832079992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3490" y="6467874"/>
            <a:ext cx="685800" cy="13335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00">
                <a:solidFill>
                  <a:srgbClr val="FFFFFF"/>
                </a:solidFill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1033401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mit Titel (Logo Weiß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10">
            <a:extLst>
              <a:ext uri="{FF2B5EF4-FFF2-40B4-BE49-F238E27FC236}">
                <a16:creationId xmlns:a16="http://schemas.microsoft.com/office/drawing/2014/main" id="{E63F0EF0-6751-42DD-8EAD-C8E847AA5F4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-1" y="0"/>
            <a:ext cx="12192001" cy="6858000"/>
          </a:xfrm>
          <a:solidFill>
            <a:srgbClr val="BFBFBF"/>
          </a:solidFill>
        </p:spPr>
        <p:txBody>
          <a:bodyPr tIns="360000" anchor="t"/>
          <a:lstStyle>
            <a:lvl1pPr marL="0" indent="0" algn="ctr" defTabSz="9144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DB Neo Office" pitchFamily="2" charset="0"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 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D45B80E-FA5E-4414-8A23-82CAB8E0D0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03.06.2026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01E907B-F3FD-4F7E-979E-473985CA80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13D9F7D-0C28-4C21-AA99-7C67E34F632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PULS">
            <a:extLst>
              <a:ext uri="{FF2B5EF4-FFF2-40B4-BE49-F238E27FC236}">
                <a16:creationId xmlns:a16="http://schemas.microsoft.com/office/drawing/2014/main" id="{0B07DB40-DBD6-4EA1-8E67-8EA03178A60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280903" y="6472802"/>
            <a:ext cx="533272" cy="49581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10" name="DBLOGO">
            <a:extLst>
              <a:ext uri="{FF2B5EF4-FFF2-40B4-BE49-F238E27FC236}">
                <a16:creationId xmlns:a16="http://schemas.microsoft.com/office/drawing/2014/main" id="{63C11FEC-D812-4EB3-9A64-42F1696D70D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280903" y="368660"/>
            <a:ext cx="539622" cy="378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52ACBF4-EBE4-4F98-8E18-5619C05FB6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11" name="CUSTOMLOGO">
            <a:extLst>
              <a:ext uri="{FF2B5EF4-FFF2-40B4-BE49-F238E27FC236}">
                <a16:creationId xmlns:a16="http://schemas.microsoft.com/office/drawing/2014/main" id="{EABDFDB4-6EEB-4DB2-80E4-79E50D4B6BB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3490" y="6467874"/>
            <a:ext cx="685800" cy="13335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00">
                <a:solidFill>
                  <a:srgbClr val="FFFFFF"/>
                </a:solidFill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5343975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B94DD2-B5F5-4C54-B070-51A7824E16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D45B80E-FA5E-4414-8A23-82CAB8E0D0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03.06.2026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01E907B-F3FD-4F7E-979E-473985CA80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D9F7D-0C28-4C21-AA99-7C67E34F632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5056788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(Rot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246A6EC-3E05-4D6A-90AC-32BADE329B9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9652" y="1600200"/>
            <a:ext cx="11240873" cy="2764904"/>
          </a:xfrm>
        </p:spPr>
        <p:txBody>
          <a:bodyPr anchor="b"/>
          <a:lstStyle>
            <a:lvl1pPr algn="l"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D9B9821B-D7E4-454E-A8E2-C60C1507FD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9652" y="4392005"/>
            <a:ext cx="11240873" cy="683654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200" b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27B272F-0A02-4556-8035-1AFBA703708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9652" y="5922000"/>
            <a:ext cx="11240873" cy="38070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Datum | Ort</a:t>
            </a:r>
          </a:p>
        </p:txBody>
      </p:sp>
      <p:sp>
        <p:nvSpPr>
          <p:cNvPr id="11" name="PULS_FIX">
            <a:extLst>
              <a:ext uri="{FF2B5EF4-FFF2-40B4-BE49-F238E27FC236}">
                <a16:creationId xmlns:a16="http://schemas.microsoft.com/office/drawing/2014/main" id="{AC45A34D-75DC-4BA7-88F8-5CBA85EE7F5A}"/>
              </a:ext>
            </a:extLst>
          </p:cNvPr>
          <p:cNvSpPr/>
          <p:nvPr userDrawn="1"/>
        </p:nvSpPr>
        <p:spPr>
          <a:xfrm>
            <a:off x="579652" y="5467614"/>
            <a:ext cx="1220724" cy="121625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6" name="DBLOGO_FIX">
            <a:extLst>
              <a:ext uri="{FF2B5EF4-FFF2-40B4-BE49-F238E27FC236}">
                <a16:creationId xmlns:a16="http://schemas.microsoft.com/office/drawing/2014/main" id="{CA557640-D312-ED76-E475-28BE4057583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79771" y="511987"/>
            <a:ext cx="1220723" cy="854506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B8BE7321-6E2A-EC70-6B0C-AED37501E8A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956437" y="5879130"/>
            <a:ext cx="1628775" cy="314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45961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 (Grau)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B94DD2-B5F5-4C54-B070-51A7824E16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D45B80E-FA5E-4414-8A23-82CAB8E0D0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03.06.2026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01E907B-F3FD-4F7E-979E-473985CA80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D9F7D-0C28-4C21-AA99-7C67E34F632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3398045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A86CD97-5D9A-4DD7-8FA9-F028A03BBC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03.06.2026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35940B9-9206-49A7-9C4C-F7D5345063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D9F7D-0C28-4C21-AA99-7C67E34F632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9360936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(Logo Rot)">
    <p:bg>
      <p:bgPr>
        <a:solidFill>
          <a:schemeClr val="tx1">
            <a:alpha val="84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10">
            <a:extLst>
              <a:ext uri="{FF2B5EF4-FFF2-40B4-BE49-F238E27FC236}">
                <a16:creationId xmlns:a16="http://schemas.microsoft.com/office/drawing/2014/main" id="{E63F0EF0-6751-42DD-8EAD-C8E847AA5F4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-1" y="0"/>
            <a:ext cx="12192001" cy="6858000"/>
          </a:xfrm>
          <a:noFill/>
        </p:spPr>
        <p:txBody>
          <a:bodyPr tIns="360000" anchor="t"/>
          <a:lstStyle>
            <a:lvl1pPr marL="0" indent="0" algn="ctr" defTabSz="9144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DB Neo Office" pitchFamily="2" charset="0"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5B94DD2-B5F5-4C54-B070-51A7824E16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D45B80E-FA5E-4414-8A23-82CAB8E0D0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03.06.2026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01E907B-F3FD-4F7E-979E-473985CA80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80903" y="6537600"/>
            <a:ext cx="539622" cy="21602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13D9F7D-0C28-4C21-AA99-7C67E34F632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PULS">
            <a:extLst>
              <a:ext uri="{FF2B5EF4-FFF2-40B4-BE49-F238E27FC236}">
                <a16:creationId xmlns:a16="http://schemas.microsoft.com/office/drawing/2014/main" id="{0B07DB40-DBD6-4EA1-8E67-8EA03178A60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280903" y="6472802"/>
            <a:ext cx="533272" cy="49581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12" name="Textplatzhalter 7">
            <a:extLst>
              <a:ext uri="{FF2B5EF4-FFF2-40B4-BE49-F238E27FC236}">
                <a16:creationId xmlns:a16="http://schemas.microsoft.com/office/drawing/2014/main" id="{23A1144C-097B-48B5-A5B0-A4ECB476BAF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4963" y="2096852"/>
            <a:ext cx="11521677" cy="123134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5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Statement</a:t>
            </a:r>
          </a:p>
        </p:txBody>
      </p:sp>
      <p:sp>
        <p:nvSpPr>
          <p:cNvPr id="10" name="DBLOGO">
            <a:extLst>
              <a:ext uri="{FF2B5EF4-FFF2-40B4-BE49-F238E27FC236}">
                <a16:creationId xmlns:a16="http://schemas.microsoft.com/office/drawing/2014/main" id="{29D23199-76B3-4E3B-A68D-B7F401D7BB7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280903" y="368660"/>
            <a:ext cx="539622" cy="378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11" name="CUSTOMLOGO">
            <a:extLst>
              <a:ext uri="{FF2B5EF4-FFF2-40B4-BE49-F238E27FC236}">
                <a16:creationId xmlns:a16="http://schemas.microsoft.com/office/drawing/2014/main" id="{2F49256F-4195-4946-AFE1-0EDF8693C29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3490" y="6467874"/>
            <a:ext cx="685800" cy="13335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00">
                <a:solidFill>
                  <a:srgbClr val="FFFFFF"/>
                </a:solidFill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86556327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(Logo Weiß)">
    <p:bg>
      <p:bgPr>
        <a:solidFill>
          <a:schemeClr val="tx1">
            <a:alpha val="84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10">
            <a:extLst>
              <a:ext uri="{FF2B5EF4-FFF2-40B4-BE49-F238E27FC236}">
                <a16:creationId xmlns:a16="http://schemas.microsoft.com/office/drawing/2014/main" id="{E63F0EF0-6751-42DD-8EAD-C8E847AA5F4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-1" y="0"/>
            <a:ext cx="12192001" cy="6858000"/>
          </a:xfrm>
          <a:noFill/>
        </p:spPr>
        <p:txBody>
          <a:bodyPr tIns="360000" anchor="t"/>
          <a:lstStyle>
            <a:lvl1pPr marL="0" indent="0" algn="ctr" defTabSz="9144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DB Neo Office" pitchFamily="2" charset="0"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5B94DD2-B5F5-4C54-B070-51A7824E16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D45B80E-FA5E-4414-8A23-82CAB8E0D0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03.06.2026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01E907B-F3FD-4F7E-979E-473985CA80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13D9F7D-0C28-4C21-AA99-7C67E34F632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PULS">
            <a:extLst>
              <a:ext uri="{FF2B5EF4-FFF2-40B4-BE49-F238E27FC236}">
                <a16:creationId xmlns:a16="http://schemas.microsoft.com/office/drawing/2014/main" id="{0B07DB40-DBD6-4EA1-8E67-8EA03178A60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280903" y="6472802"/>
            <a:ext cx="533272" cy="49581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12" name="Textplatzhalter 7">
            <a:extLst>
              <a:ext uri="{FF2B5EF4-FFF2-40B4-BE49-F238E27FC236}">
                <a16:creationId xmlns:a16="http://schemas.microsoft.com/office/drawing/2014/main" id="{23A1144C-097B-48B5-A5B0-A4ECB476BAF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4963" y="2096852"/>
            <a:ext cx="11521677" cy="123134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5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Statement</a:t>
            </a:r>
          </a:p>
        </p:txBody>
      </p:sp>
      <p:sp>
        <p:nvSpPr>
          <p:cNvPr id="10" name="DBLOGO">
            <a:extLst>
              <a:ext uri="{FF2B5EF4-FFF2-40B4-BE49-F238E27FC236}">
                <a16:creationId xmlns:a16="http://schemas.microsoft.com/office/drawing/2014/main" id="{29D23199-76B3-4E3B-A68D-B7F401D7BB7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280903" y="368660"/>
            <a:ext cx="539622" cy="378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11" name="CUSTOMLOGO">
            <a:extLst>
              <a:ext uri="{FF2B5EF4-FFF2-40B4-BE49-F238E27FC236}">
                <a16:creationId xmlns:a16="http://schemas.microsoft.com/office/drawing/2014/main" id="{E33108D0-6BBB-4ECD-B02A-FB672F397D4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3490" y="6467874"/>
            <a:ext cx="685800" cy="13335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00">
                <a:solidFill>
                  <a:srgbClr val="FFFFFF"/>
                </a:solidFill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9318350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 (Logo Ro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061F7418-C8D3-6EFA-E1BF-8BF173A4253D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tIns="360000" anchor="t"/>
          <a:lstStyle>
            <a:lvl1pPr marL="182563" indent="-182563" algn="ctr" defTabSz="9144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DB Neo Office" pitchFamily="2" charset="0"/>
              <a:buNone/>
              <a:defRPr/>
            </a:lvl1pPr>
          </a:lstStyle>
          <a:p>
            <a:r>
              <a:rPr lang="de-DE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0E10FB-DB28-4159-ABFD-2E84010A9B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2060" y="1952836"/>
            <a:ext cx="11447880" cy="241226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alpha val="30000"/>
                  </a:schemeClr>
                </a:solidFill>
              </a14:hiddenFill>
            </a:ext>
          </a:extLst>
        </p:spPr>
        <p:txBody>
          <a:bodyPr lIns="0" tIns="0" rIns="0" bIns="0" anchor="b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r>
              <a:rPr lang="de-DE"/>
              <a:t>Zitat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B538E46-C847-44FA-A5BC-C63FF58B56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2062" y="6537600"/>
            <a:ext cx="10548843" cy="21602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03.06.2026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EC4D224-C30D-405E-A5EE-0DB17C1D8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13D9F7D-0C28-4C21-AA99-7C67E34F632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19DF05F-72AD-4B24-A27F-09516995237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5208436"/>
            <a:ext cx="11449050" cy="920902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Vorname Nachnam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9B825A7-CC36-4592-BA09-A6FA6C29D83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86313" y="4905164"/>
            <a:ext cx="1220724" cy="12162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10" name="PULS">
            <a:extLst>
              <a:ext uri="{FF2B5EF4-FFF2-40B4-BE49-F238E27FC236}">
                <a16:creationId xmlns:a16="http://schemas.microsoft.com/office/drawing/2014/main" id="{B27FFED9-1D10-457A-BB20-AF5C3651EB6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280903" y="6472802"/>
            <a:ext cx="533272" cy="49581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12" name="DBLOGO">
            <a:extLst>
              <a:ext uri="{FF2B5EF4-FFF2-40B4-BE49-F238E27FC236}">
                <a16:creationId xmlns:a16="http://schemas.microsoft.com/office/drawing/2014/main" id="{E1612367-6D73-48B9-86F0-04DA0715BB2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280903" y="368660"/>
            <a:ext cx="539622" cy="378000"/>
          </a:xfrm>
          <a:blipFill>
            <a:blip r:embed="rId2"/>
            <a:stretch>
              <a:fillRect/>
            </a:stretch>
          </a:blipFill>
        </p:spPr>
        <p:txBody>
          <a:bodyPr vert="horz" lIns="0" tIns="0" rIns="0" bIns="0" rtlCol="0"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de-DE" sz="1000" dirty="0">
                <a:solidFill>
                  <a:schemeClr val="bg1"/>
                </a:solidFill>
              </a:defRPr>
            </a:lvl1pPr>
          </a:lstStyle>
          <a:p>
            <a:pPr marL="182563" lvl="0" indent="-182563"/>
            <a:r>
              <a:rPr lang="de-DE"/>
              <a:t> </a:t>
            </a:r>
          </a:p>
        </p:txBody>
      </p:sp>
      <p:sp>
        <p:nvSpPr>
          <p:cNvPr id="11" name="CUSTOMLOGO">
            <a:extLst>
              <a:ext uri="{FF2B5EF4-FFF2-40B4-BE49-F238E27FC236}">
                <a16:creationId xmlns:a16="http://schemas.microsoft.com/office/drawing/2014/main" id="{96192F19-4F6A-498C-9310-CB01B8F3A74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3490" y="6467874"/>
            <a:ext cx="685800" cy="13335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00">
                <a:solidFill>
                  <a:srgbClr val="FFFFFF"/>
                </a:solidFill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578697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 (Logo Weiß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339CE048-F6A6-E57F-7A13-0A93D21BDD33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tIns="360000" anchor="t"/>
          <a:lstStyle>
            <a:lvl1pPr marL="182563" indent="-182563" algn="ctr" defTabSz="9144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DB Neo Office" pitchFamily="2" charset="0"/>
              <a:buNone/>
              <a:defRPr/>
            </a:lvl1pPr>
          </a:lstStyle>
          <a:p>
            <a:r>
              <a:rPr lang="de-DE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0E10FB-DB28-4159-ABFD-2E84010A9B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2060" y="1952836"/>
            <a:ext cx="11447880" cy="241226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alpha val="30000"/>
                  </a:schemeClr>
                </a:solidFill>
              </a14:hiddenFill>
            </a:ext>
          </a:extLst>
        </p:spPr>
        <p:txBody>
          <a:bodyPr lIns="0" tIns="0" rIns="0" bIns="0" anchor="b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r>
              <a:rPr lang="de-DE"/>
              <a:t>Zitat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B538E46-C847-44FA-A5BC-C63FF58B56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2062" y="6537600"/>
            <a:ext cx="10548843" cy="21602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03.06.2026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EC4D224-C30D-405E-A5EE-0DB17C1D8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13D9F7D-0C28-4C21-AA99-7C67E34F632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19DF05F-72AD-4B24-A27F-09516995237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5208436"/>
            <a:ext cx="11449050" cy="935486"/>
          </a:xfrm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7357" dir="2700000" rotWithShape="0">
                    <a:scrgbClr r="0" g="0" b="0"/>
                  </a:outerShdw>
                </a:effectLst>
              </a14:hiddenEffects>
            </a:ext>
          </a:extLst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Vorname Nachnam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9B825A7-CC36-4592-BA09-A6FA6C29D83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86313" y="4905164"/>
            <a:ext cx="1220724" cy="12162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7357" dir="2700000" rotWithShape="0">
                    <a:scrgbClr r="0" g="0" b="0"/>
                  </a:outerShdw>
                </a:effectLst>
              </a14:hiddenEffects>
            </a:ext>
          </a:extLst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10" name="PULS">
            <a:extLst>
              <a:ext uri="{FF2B5EF4-FFF2-40B4-BE49-F238E27FC236}">
                <a16:creationId xmlns:a16="http://schemas.microsoft.com/office/drawing/2014/main" id="{B27FFED9-1D10-457A-BB20-AF5C3651EB6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280903" y="6472802"/>
            <a:ext cx="533272" cy="49581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7357" dir="2700000" rotWithShape="0">
                    <a:scrgbClr r="0" g="0" b="0"/>
                  </a:outerShdw>
                </a:effectLst>
              </a14:hiddenEffects>
            </a:ext>
          </a:extLst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12" name="DBLOGO">
            <a:extLst>
              <a:ext uri="{FF2B5EF4-FFF2-40B4-BE49-F238E27FC236}">
                <a16:creationId xmlns:a16="http://schemas.microsoft.com/office/drawing/2014/main" id="{E1612367-6D73-48B9-86F0-04DA0715BB2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280903" y="368660"/>
            <a:ext cx="539622" cy="378000"/>
          </a:xfrm>
          <a:blipFill>
            <a:blip r:embed="rId2"/>
            <a:stretch>
              <a:fillRect/>
            </a:stretch>
          </a:blip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7357" dir="2700000" rotWithShape="0">
                    <a:scrgbClr r="0" g="0" b="0"/>
                  </a:outerShdw>
                </a:effectLst>
              </a14:hiddenEffects>
            </a:ext>
          </a:extLst>
        </p:spPr>
        <p:txBody>
          <a:bodyPr vert="horz" lIns="0" tIns="0" rIns="0" bIns="0" rtlCol="0"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DB Neo Office" pitchFamily="2" charset="0"/>
              <a:buNone/>
              <a:defRPr lang="de-DE" sz="1000" dirty="0">
                <a:solidFill>
                  <a:schemeClr val="bg1"/>
                </a:solidFill>
              </a:defRPr>
            </a:lvl1pPr>
          </a:lstStyle>
          <a:p>
            <a:pPr marL="182563" lvl="0" indent="-182563"/>
            <a:r>
              <a:rPr lang="de-DE"/>
              <a:t> </a:t>
            </a:r>
          </a:p>
        </p:txBody>
      </p:sp>
      <p:sp>
        <p:nvSpPr>
          <p:cNvPr id="11" name="CUSTOMLOGO">
            <a:extLst>
              <a:ext uri="{FF2B5EF4-FFF2-40B4-BE49-F238E27FC236}">
                <a16:creationId xmlns:a16="http://schemas.microsoft.com/office/drawing/2014/main" id="{073583A7-E03E-4844-B9F9-9FECB344EDD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3490" y="6467874"/>
            <a:ext cx="685800" cy="13335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7357" dir="2700000" rotWithShape="0">
                    <a:scrgbClr r="0" g="0" b="0"/>
                  </a:outerShdw>
                </a:effectLst>
              </a14:hiddenEffects>
            </a:ext>
          </a:extLst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00">
                <a:solidFill>
                  <a:srgbClr val="FFFFFF"/>
                </a:solidFill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0987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e (Bild)">
    <p:bg>
      <p:bgPr>
        <a:solidFill>
          <a:schemeClr val="tx1">
            <a:alpha val="84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10">
            <a:extLst>
              <a:ext uri="{FF2B5EF4-FFF2-40B4-BE49-F238E27FC236}">
                <a16:creationId xmlns:a16="http://schemas.microsoft.com/office/drawing/2014/main" id="{88E6BB85-2CD9-4C46-9692-3B22C74A130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-1" y="0"/>
            <a:ext cx="12192001" cy="6858000"/>
          </a:xfrm>
          <a:noFill/>
        </p:spPr>
        <p:txBody>
          <a:bodyPr tIns="360000" anchor="t"/>
          <a:lstStyle>
            <a:lvl1pPr marL="0" indent="0" algn="ctr" defTabSz="9144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DB Neo Office" pitchFamily="2" charset="0"/>
              <a:buNone/>
              <a:defRPr/>
            </a:lvl1pPr>
          </a:lstStyle>
          <a:p>
            <a:r>
              <a:rPr lang="de-DE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5B94DD2-B5F5-4C54-B070-51A7824E16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2436127"/>
            <a:ext cx="11449050" cy="3693211"/>
          </a:xfrm>
        </p:spPr>
        <p:txBody>
          <a:bodyPr/>
          <a:lstStyle>
            <a:lvl1pPr algn="ctr">
              <a:defRPr sz="8000" b="1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27439256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Ende (Rot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B94DD2-B5F5-4C54-B070-51A7824E16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2436127"/>
            <a:ext cx="11449050" cy="3693211"/>
          </a:xfrm>
        </p:spPr>
        <p:txBody>
          <a:bodyPr/>
          <a:lstStyle>
            <a:lvl1pPr algn="ctr">
              <a:defRPr sz="8000" b="1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13801862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easyBackground_Agenda">
            <a:extLst>
              <a:ext uri="{FF2B5EF4-FFF2-40B4-BE49-F238E27FC236}">
                <a16:creationId xmlns:a16="http://schemas.microsoft.com/office/drawing/2014/main" id="{27357142-6084-428B-8ECF-A7ACDE390228}"/>
              </a:ext>
            </a:extLst>
          </p:cNvPr>
          <p:cNvPicPr preferRelativeResize="0"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92000" cy="6858001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5B94DD2-B5F5-4C54-B070-51A7824E16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D45B80E-FA5E-4414-8A23-82CAB8E0D0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03.06.2026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01E907B-F3FD-4F7E-979E-473985CA80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13D9F7D-0C28-4C21-AA99-7C67E34F632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DAC0F8B-4A4D-455D-8D50-154C31AA3BE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280903" y="6472802"/>
            <a:ext cx="533272" cy="49581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1pPr>
            <a:lvl2pPr marL="271456" indent="0">
              <a:buNone/>
              <a:defRPr/>
            </a:lvl2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9" name="CUSTOMLOGO">
            <a:extLst>
              <a:ext uri="{FF2B5EF4-FFF2-40B4-BE49-F238E27FC236}">
                <a16:creationId xmlns:a16="http://schemas.microsoft.com/office/drawing/2014/main" id="{FC51D2A1-EECE-442C-9BB7-BBDA86AC703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3490" y="6467874"/>
            <a:ext cx="685800" cy="13335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00">
                <a:solidFill>
                  <a:srgbClr val="FFFFFF"/>
                </a:solidFill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de-DE"/>
              <a:t> </a:t>
            </a:r>
          </a:p>
        </p:txBody>
      </p:sp>
      <p:sp>
        <p:nvSpPr>
          <p:cNvPr id="11" name="DBLOGO">
            <a:extLst>
              <a:ext uri="{FF2B5EF4-FFF2-40B4-BE49-F238E27FC236}">
                <a16:creationId xmlns:a16="http://schemas.microsoft.com/office/drawing/2014/main" id="{4747C28C-A3D8-4E68-86B1-665C6A34EBF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280903" y="368660"/>
            <a:ext cx="539622" cy="378000"/>
          </a:xfrm>
          <a:blipFill>
            <a:blip r:embed="rId5"/>
            <a:stretch>
              <a:fillRect/>
            </a:stretch>
          </a:blipFill>
        </p:spPr>
        <p:txBody>
          <a:bodyPr vert="horz" lIns="0" tIns="0" rIns="0" bIns="0" rtlCol="0"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DB Neo Office" pitchFamily="2" charset="0"/>
              <a:buNone/>
              <a:defRPr lang="de-DE" sz="1000" dirty="0">
                <a:solidFill>
                  <a:schemeClr val="bg1"/>
                </a:solidFill>
              </a:defRPr>
            </a:lvl1pPr>
          </a:lstStyle>
          <a:p>
            <a:pPr marL="182563" lvl="0" indent="-182563"/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2612907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e (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>
            <a:extLst>
              <a:ext uri="{FF2B5EF4-FFF2-40B4-BE49-F238E27FC236}">
                <a16:creationId xmlns:a16="http://schemas.microsoft.com/office/drawing/2014/main" id="{E1D74EAB-2034-1687-E552-80F2B57B5D8F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tIns="360000" anchor="t"/>
          <a:lstStyle>
            <a:lvl1pPr marL="182563" indent="-182563" algn="ctr" defTabSz="9144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DB Neo Office" pitchFamily="2" charset="0"/>
              <a:buNone/>
              <a:defRPr/>
            </a:lvl1pPr>
          </a:lstStyle>
          <a:p>
            <a:r>
              <a:rPr lang="de-DE"/>
              <a:t> </a:t>
            </a:r>
          </a:p>
        </p:txBody>
      </p:sp>
      <p:sp>
        <p:nvSpPr>
          <p:cNvPr id="6" name="DBLOGO">
            <a:extLst>
              <a:ext uri="{FF2B5EF4-FFF2-40B4-BE49-F238E27FC236}">
                <a16:creationId xmlns:a16="http://schemas.microsoft.com/office/drawing/2014/main" id="{11586949-1E99-4A43-99E8-BFF2DE8AE5C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05800" y="1620783"/>
            <a:ext cx="5180400" cy="3625200"/>
          </a:xfrm>
          <a:blipFill>
            <a:blip r:embed="rId2"/>
            <a:stretch>
              <a:fillRect/>
            </a:stretch>
          </a:blip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7357" dir="2700000" rotWithShape="0">
                    <a:scrgbClr r="0" g="0" b="0"/>
                  </a:outerShdw>
                </a:effectLst>
              </a14:hiddenEffects>
            </a:ext>
          </a:extLst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7950748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(Bild, Logo Ro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10">
            <a:extLst>
              <a:ext uri="{FF2B5EF4-FFF2-40B4-BE49-F238E27FC236}">
                <a16:creationId xmlns:a16="http://schemas.microsoft.com/office/drawing/2014/main" id="{AA98A793-6334-4A93-A832-55E4A93AE29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-1" y="0"/>
            <a:ext cx="12192001" cy="6858000"/>
          </a:xfrm>
          <a:solidFill>
            <a:srgbClr val="BFBFBF"/>
          </a:solidFill>
        </p:spPr>
        <p:txBody>
          <a:bodyPr tIns="360000" anchor="t"/>
          <a:lstStyle>
            <a:lvl1pPr marL="0" indent="0" algn="ctr" defTabSz="9144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DB Neo Office" pitchFamily="2" charset="0"/>
              <a:buNone/>
              <a:defRPr/>
            </a:lvl1pPr>
          </a:lstStyle>
          <a:p>
            <a:r>
              <a:rPr lang="de-DE"/>
              <a:t> </a:t>
            </a:r>
          </a:p>
        </p:txBody>
      </p:sp>
      <p:sp>
        <p:nvSpPr>
          <p:cNvPr id="12" name="PULS">
            <a:extLst>
              <a:ext uri="{FF2B5EF4-FFF2-40B4-BE49-F238E27FC236}">
                <a16:creationId xmlns:a16="http://schemas.microsoft.com/office/drawing/2014/main" id="{F6F306AD-528B-44F2-97F6-C1072B0EEA6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9652" y="5467612"/>
            <a:ext cx="1220724" cy="12162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7357" dir="2700000" rotWithShape="0">
                    <a:scrgbClr r="0" g="0" b="0"/>
                  </a:outerShdw>
                </a:effectLst>
              </a14:hiddenEffects>
            </a:ext>
          </a:extLst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246A6EC-3E05-4D6A-90AC-32BADE329B9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9652" y="3609020"/>
            <a:ext cx="11240873" cy="756084"/>
          </a:xfrm>
        </p:spPr>
        <p:txBody>
          <a:bodyPr anchor="b"/>
          <a:lstStyle>
            <a:lvl1pPr algn="l"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D9B9821B-D7E4-454E-A8E2-C60C1507FD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9652" y="4392005"/>
            <a:ext cx="11240873" cy="683654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200" b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27B272F-0A02-4556-8035-1AFBA703708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9652" y="5922000"/>
            <a:ext cx="11240873" cy="380709"/>
          </a:xfrm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7357" dir="2700000" rotWithShape="0">
                    <a:scrgbClr r="0" g="0" b="0"/>
                  </a:outerShdw>
                </a:effectLst>
              </a14:hiddenEffects>
            </a:ext>
          </a:extLst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Datum | Ort</a:t>
            </a:r>
          </a:p>
        </p:txBody>
      </p:sp>
      <p:sp>
        <p:nvSpPr>
          <p:cNvPr id="8" name="DBLOGO">
            <a:extLst>
              <a:ext uri="{FF2B5EF4-FFF2-40B4-BE49-F238E27FC236}">
                <a16:creationId xmlns:a16="http://schemas.microsoft.com/office/drawing/2014/main" id="{7D3148F9-2D63-42F8-AA94-9AA4BDDD3A4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79652" y="513294"/>
            <a:ext cx="1220400" cy="853200"/>
          </a:xfrm>
          <a:blipFill>
            <a:blip r:embed="rId2"/>
            <a:stretch>
              <a:fillRect/>
            </a:stretch>
          </a:blip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7357" dir="2700000" rotWithShape="0">
                    <a:scrgbClr r="0" g="0" b="0"/>
                  </a:outerShdw>
                </a:effectLst>
              </a14:hiddenEffects>
            </a:ext>
          </a:extLst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5" name="CUSTOMLOGO">
            <a:extLst>
              <a:ext uri="{FF2B5EF4-FFF2-40B4-BE49-F238E27FC236}">
                <a16:creationId xmlns:a16="http://schemas.microsoft.com/office/drawing/2014/main" id="{F6B6F2BC-8E0F-4F53-9AFF-BF0C2F9193B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956438" y="5879131"/>
            <a:ext cx="1628775" cy="314325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7357" dir="2700000" rotWithShape="0">
                    <a:scrgbClr r="0" g="0" b="0"/>
                  </a:outerShdw>
                </a:effectLst>
              </a14:hiddenEffects>
            </a:ext>
          </a:extLst>
        </p:spPr>
        <p:txBody>
          <a:bodyPr anchor="b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>
                <a:solidFill>
                  <a:srgbClr val="FFFFFF"/>
                </a:solidFill>
              </a:defRPr>
            </a:lvl1pPr>
            <a:lvl2pPr marL="182562" indent="0">
              <a:buNone/>
              <a:defRPr/>
            </a:lvl2pPr>
            <a:lvl3pPr marL="358775" indent="0">
              <a:buNone/>
              <a:defRPr/>
            </a:lvl3pPr>
            <a:lvl4pPr marL="541338" indent="0">
              <a:buNone/>
              <a:defRPr/>
            </a:lvl4pPr>
            <a:lvl5pPr marL="715962" indent="0">
              <a:buNone/>
              <a:defRPr/>
            </a:lvl5pPr>
          </a:lstStyle>
          <a:p>
            <a:pPr marL="0" lv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Symbol" panose="05050102010706020507" pitchFamily="18" charset="2"/>
              <a:buNone/>
            </a:pPr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2662359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e (DB Logo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DBLOGO_FIX">
            <a:extLst>
              <a:ext uri="{FF2B5EF4-FFF2-40B4-BE49-F238E27FC236}">
                <a16:creationId xmlns:a16="http://schemas.microsoft.com/office/drawing/2014/main" id="{6F863358-957A-05FD-828A-9A16A06A86A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66002" y="1412776"/>
            <a:ext cx="5554904" cy="3888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62166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(Bild, Logo Weiß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10">
            <a:extLst>
              <a:ext uri="{FF2B5EF4-FFF2-40B4-BE49-F238E27FC236}">
                <a16:creationId xmlns:a16="http://schemas.microsoft.com/office/drawing/2014/main" id="{AA98A793-6334-4A93-A832-55E4A93AE29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-1" y="0"/>
            <a:ext cx="12192001" cy="6858000"/>
          </a:xfrm>
          <a:solidFill>
            <a:srgbClr val="BFBFBF"/>
          </a:solidFill>
        </p:spPr>
        <p:txBody>
          <a:bodyPr tIns="360000" anchor="t"/>
          <a:lstStyle>
            <a:lvl1pPr marL="0" indent="0" algn="ctr" defTabSz="9144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DB Neo Office" pitchFamily="2" charset="0"/>
              <a:buNone/>
              <a:defRPr/>
            </a:lvl1pPr>
          </a:lstStyle>
          <a:p>
            <a:r>
              <a:rPr lang="de-DE"/>
              <a:t> </a:t>
            </a:r>
          </a:p>
        </p:txBody>
      </p:sp>
      <p:sp>
        <p:nvSpPr>
          <p:cNvPr id="12" name="PULS">
            <a:extLst>
              <a:ext uri="{FF2B5EF4-FFF2-40B4-BE49-F238E27FC236}">
                <a16:creationId xmlns:a16="http://schemas.microsoft.com/office/drawing/2014/main" id="{F6F306AD-528B-44F2-97F6-C1072B0EEA6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9652" y="5467612"/>
            <a:ext cx="1220724" cy="12162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7357" dir="2700000" rotWithShape="0">
                    <a:scrgbClr r="0" g="0" b="0"/>
                  </a:outerShdw>
                </a:effectLst>
              </a14:hiddenEffects>
            </a:ext>
          </a:extLst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246A6EC-3E05-4D6A-90AC-32BADE329B9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9652" y="3609020"/>
            <a:ext cx="11240873" cy="756084"/>
          </a:xfrm>
        </p:spPr>
        <p:txBody>
          <a:bodyPr anchor="b"/>
          <a:lstStyle>
            <a:lvl1pPr algn="l"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D9B9821B-D7E4-454E-A8E2-C60C1507FD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9652" y="4392005"/>
            <a:ext cx="11240873" cy="683654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200" b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27B272F-0A02-4556-8035-1AFBA703708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9652" y="5922000"/>
            <a:ext cx="11240873" cy="380709"/>
          </a:xfrm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7357" dir="2700000" rotWithShape="0">
                    <a:scrgbClr r="0" g="0" b="0"/>
                  </a:outerShdw>
                </a:effectLst>
              </a14:hiddenEffects>
            </a:ext>
          </a:extLst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Datum | Ort</a:t>
            </a:r>
          </a:p>
        </p:txBody>
      </p:sp>
      <p:sp>
        <p:nvSpPr>
          <p:cNvPr id="8" name="DBLOGO">
            <a:extLst>
              <a:ext uri="{FF2B5EF4-FFF2-40B4-BE49-F238E27FC236}">
                <a16:creationId xmlns:a16="http://schemas.microsoft.com/office/drawing/2014/main" id="{7D3148F9-2D63-42F8-AA94-9AA4BDDD3A4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79652" y="513294"/>
            <a:ext cx="1220400" cy="853200"/>
          </a:xfrm>
          <a:blipFill>
            <a:blip r:embed="rId2"/>
            <a:stretch>
              <a:fillRect/>
            </a:stretch>
          </a:blip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7357" dir="2700000" rotWithShape="0">
                    <a:scrgbClr r="0" g="0" b="0"/>
                  </a:outerShdw>
                </a:effectLst>
              </a14:hiddenEffects>
            </a:ext>
          </a:extLst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11" name="CUSTOMLOGO">
            <a:extLst>
              <a:ext uri="{FF2B5EF4-FFF2-40B4-BE49-F238E27FC236}">
                <a16:creationId xmlns:a16="http://schemas.microsoft.com/office/drawing/2014/main" id="{A2E8A608-09F3-444F-84C0-E49077C3B4E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956438" y="5879131"/>
            <a:ext cx="1628775" cy="314325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7357" dir="2700000" rotWithShape="0">
                    <a:scrgbClr r="0" g="0" b="0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de-DE" dirty="0">
                <a:solidFill>
                  <a:srgbClr val="FFFFFF"/>
                </a:solidFill>
              </a:defRPr>
            </a:lvl1pPr>
          </a:lstStyle>
          <a:p>
            <a:pPr marL="182563" lvl="0" indent="-182563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662558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(Rahm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10">
            <a:extLst>
              <a:ext uri="{FF2B5EF4-FFF2-40B4-BE49-F238E27FC236}">
                <a16:creationId xmlns:a16="http://schemas.microsoft.com/office/drawing/2014/main" id="{AA98A793-6334-4A93-A832-55E4A93AE29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-1" y="0"/>
            <a:ext cx="12192001" cy="6858000"/>
          </a:xfrm>
          <a:solidFill>
            <a:srgbClr val="BFBFBF"/>
          </a:solidFill>
        </p:spPr>
        <p:txBody>
          <a:bodyPr tIns="360000" anchor="t"/>
          <a:lstStyle>
            <a:lvl1pPr marL="0" indent="0" algn="ctr" defTabSz="9144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DB Neo Office" pitchFamily="2" charset="0"/>
              <a:buNone/>
              <a:defRPr/>
            </a:lvl1pPr>
          </a:lstStyle>
          <a:p>
            <a:r>
              <a:rPr lang="de-DE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246A6EC-3E05-4D6A-90AC-32BADE329B9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1364" y="1073676"/>
            <a:ext cx="7309209" cy="5415664"/>
          </a:xfrm>
          <a:prstGeom prst="roundRect">
            <a:avLst>
              <a:gd name="adj" fmla="val 1994"/>
            </a:avLst>
          </a:prstGeom>
          <a:solidFill>
            <a:schemeClr val="bg1">
              <a:alpha val="80000"/>
            </a:schemeClr>
          </a:solidFill>
        </p:spPr>
        <p:txBody>
          <a:bodyPr lIns="316988" tIns="252000" rIns="252000" bIns="2232000" anchor="b"/>
          <a:lstStyle>
            <a:lvl1pPr algn="l">
              <a:defRPr sz="4800" b="1"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12" name="PULS">
            <a:extLst>
              <a:ext uri="{FF2B5EF4-FFF2-40B4-BE49-F238E27FC236}">
                <a16:creationId xmlns:a16="http://schemas.microsoft.com/office/drawing/2014/main" id="{F6F306AD-528B-44F2-97F6-C1072B0EEA6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49299" y="5467615"/>
            <a:ext cx="1220724" cy="12162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7357" dir="2700000" rotWithShape="0">
                    <a:scrgbClr r="0" g="0" b="0"/>
                  </a:outerShdw>
                </a:effectLst>
              </a14:hiddenEffects>
            </a:ext>
          </a:extLst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D9B9821B-D7E4-454E-A8E2-C60C1507FD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9299" y="4371454"/>
            <a:ext cx="6643241" cy="683654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200" b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27B272F-0A02-4556-8035-1AFBA703708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31403" y="5922000"/>
            <a:ext cx="6661137" cy="380709"/>
          </a:xfrm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7357" dir="2700000" rotWithShape="0">
                    <a:scrgbClr r="0" g="0" b="0"/>
                  </a:outerShdw>
                </a:effectLst>
              </a14:hiddenEffects>
            </a:ext>
          </a:extLst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/>
              <a:t>Datum | Ort</a:t>
            </a:r>
          </a:p>
        </p:txBody>
      </p:sp>
      <p:sp>
        <p:nvSpPr>
          <p:cNvPr id="8" name="DBLOGO">
            <a:extLst>
              <a:ext uri="{FF2B5EF4-FFF2-40B4-BE49-F238E27FC236}">
                <a16:creationId xmlns:a16="http://schemas.microsoft.com/office/drawing/2014/main" id="{398F66B9-BCC0-498C-90EC-8CDC6A8B006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35140" y="1448780"/>
            <a:ext cx="1220400" cy="853200"/>
          </a:xfrm>
          <a:blipFill>
            <a:blip r:embed="rId2"/>
            <a:stretch>
              <a:fillRect/>
            </a:stretch>
          </a:blip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7357" dir="2700000" rotWithShape="0">
                    <a:scrgbClr r="0" g="0" b="0"/>
                  </a:outerShdw>
                </a:effectLst>
              </a14:hiddenEffects>
            </a:ext>
          </a:extLst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11" name="CUSTOMLOGO">
            <a:extLst>
              <a:ext uri="{FF2B5EF4-FFF2-40B4-BE49-F238E27FC236}">
                <a16:creationId xmlns:a16="http://schemas.microsoft.com/office/drawing/2014/main" id="{FBA9E53E-9423-4DA9-AD77-C8726D2097A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956438" y="5879131"/>
            <a:ext cx="1628775" cy="314325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7357" dir="2700000" rotWithShape="0">
                    <a:scrgbClr r="0" g="0" b="0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de-DE" dirty="0">
                <a:solidFill>
                  <a:srgbClr val="FFFFFF"/>
                </a:solidFill>
              </a:defRPr>
            </a:lvl1pPr>
          </a:lstStyle>
          <a:p>
            <a:pPr marL="182563" lvl="0" indent="-182563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4905544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verzeichnis (Weiß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B94DD2-B5F5-4C54-B070-51A7824E16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D45B80E-FA5E-4414-8A23-82CAB8E0D0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3.06.2026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01E907B-F3FD-4F7E-979E-473985CA80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13D9F7D-0C28-4C21-AA99-7C67E34F632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93E3042-2834-4DDC-A64E-0471DC6D18B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1475" y="1916831"/>
            <a:ext cx="7920768" cy="4212507"/>
          </a:xfrm>
        </p:spPr>
        <p:txBody>
          <a:bodyPr/>
          <a:lstStyle>
            <a:lvl1pPr marL="895350" indent="-895350">
              <a:lnSpc>
                <a:spcPct val="105000"/>
              </a:lnSpc>
              <a:buClrTx/>
              <a:buFont typeface="+mj-lt"/>
              <a:buAutoNum type="arabicPeriod"/>
              <a:defRPr sz="3000" b="1">
                <a:solidFill>
                  <a:schemeClr val="tx1"/>
                </a:solidFill>
                <a:latin typeface="+mj-lt"/>
              </a:defRPr>
            </a:lvl1pPr>
            <a:lvl2pPr marL="1257300" indent="-355600">
              <a:defRPr sz="3000">
                <a:solidFill>
                  <a:schemeClr val="bg1"/>
                </a:solidFill>
                <a:latin typeface="+mj-lt"/>
              </a:defRPr>
            </a:lvl2pPr>
            <a:lvl3pPr>
              <a:defRPr sz="3000">
                <a:latin typeface="+mj-lt"/>
              </a:defRPr>
            </a:lvl3pPr>
            <a:lvl4pPr>
              <a:defRPr sz="3000">
                <a:latin typeface="+mj-lt"/>
              </a:defRPr>
            </a:lvl4pPr>
            <a:lvl5pPr>
              <a:defRPr sz="3000">
                <a:latin typeface="+mj-lt"/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0128122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verzeichnis (Rot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B94DD2-B5F5-4C54-B070-51A7824E16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D45B80E-FA5E-4414-8A23-82CAB8E0D0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03.06.2026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01E907B-F3FD-4F7E-979E-473985CA80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13D9F7D-0C28-4C21-AA99-7C67E34F632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93E3042-2834-4DDC-A64E-0471DC6D18B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1475" y="1916831"/>
            <a:ext cx="7920768" cy="4212507"/>
          </a:xfrm>
        </p:spPr>
        <p:txBody>
          <a:bodyPr/>
          <a:lstStyle>
            <a:lvl1pPr marL="895350" indent="-895350">
              <a:lnSpc>
                <a:spcPct val="105000"/>
              </a:lnSpc>
              <a:buClrTx/>
              <a:buFont typeface="+mj-lt"/>
              <a:buAutoNum type="arabicPeriod"/>
              <a:defRPr sz="3000" b="1">
                <a:solidFill>
                  <a:schemeClr val="bg1"/>
                </a:solidFill>
                <a:latin typeface="+mj-lt"/>
              </a:defRPr>
            </a:lvl1pPr>
            <a:lvl2pPr marL="1257300" indent="-355600">
              <a:defRPr sz="3000">
                <a:solidFill>
                  <a:schemeClr val="bg1"/>
                </a:solidFill>
                <a:latin typeface="+mj-lt"/>
              </a:defRPr>
            </a:lvl2pPr>
            <a:lvl3pPr>
              <a:defRPr sz="3000">
                <a:latin typeface="+mj-lt"/>
              </a:defRPr>
            </a:lvl3pPr>
            <a:lvl4pPr>
              <a:defRPr sz="3000">
                <a:latin typeface="+mj-lt"/>
              </a:defRPr>
            </a:lvl4pPr>
            <a:lvl5pPr>
              <a:defRPr sz="3000">
                <a:latin typeface="+mj-lt"/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PULS_FIX">
            <a:extLst>
              <a:ext uri="{FF2B5EF4-FFF2-40B4-BE49-F238E27FC236}">
                <a16:creationId xmlns:a16="http://schemas.microsoft.com/office/drawing/2014/main" id="{652B2642-5C15-4995-AB93-CA337E09B1DB}"/>
              </a:ext>
            </a:extLst>
          </p:cNvPr>
          <p:cNvSpPr>
            <a:spLocks/>
          </p:cNvSpPr>
          <p:nvPr userDrawn="1"/>
        </p:nvSpPr>
        <p:spPr bwMode="auto">
          <a:xfrm>
            <a:off x="11280903" y="6472801"/>
            <a:ext cx="533272" cy="49581"/>
          </a:xfrm>
          <a:custGeom>
            <a:avLst/>
            <a:gdLst>
              <a:gd name="T0" fmla="*/ 3590 w 3779"/>
              <a:gd name="T1" fmla="*/ 377 h 377"/>
              <a:gd name="T2" fmla="*/ 3590 w 3779"/>
              <a:gd name="T3" fmla="*/ 377 h 377"/>
              <a:gd name="T4" fmla="*/ 188 w 3779"/>
              <a:gd name="T5" fmla="*/ 377 h 377"/>
              <a:gd name="T6" fmla="*/ 0 w 3779"/>
              <a:gd name="T7" fmla="*/ 188 h 377"/>
              <a:gd name="T8" fmla="*/ 188 w 3779"/>
              <a:gd name="T9" fmla="*/ 0 h 377"/>
              <a:gd name="T10" fmla="*/ 3590 w 3779"/>
              <a:gd name="T11" fmla="*/ 0 h 377"/>
              <a:gd name="T12" fmla="*/ 3779 w 3779"/>
              <a:gd name="T13" fmla="*/ 188 h 377"/>
              <a:gd name="T14" fmla="*/ 3590 w 3779"/>
              <a:gd name="T15" fmla="*/ 377 h 3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779" h="377">
                <a:moveTo>
                  <a:pt x="3590" y="377"/>
                </a:moveTo>
                <a:lnTo>
                  <a:pt x="3590" y="377"/>
                </a:lnTo>
                <a:lnTo>
                  <a:pt x="188" y="377"/>
                </a:lnTo>
                <a:cubicBezTo>
                  <a:pt x="79" y="377"/>
                  <a:pt x="0" y="293"/>
                  <a:pt x="0" y="188"/>
                </a:cubicBezTo>
                <a:cubicBezTo>
                  <a:pt x="0" y="82"/>
                  <a:pt x="79" y="0"/>
                  <a:pt x="188" y="0"/>
                </a:cubicBezTo>
                <a:lnTo>
                  <a:pt x="3590" y="0"/>
                </a:lnTo>
                <a:cubicBezTo>
                  <a:pt x="3700" y="0"/>
                  <a:pt x="3779" y="82"/>
                  <a:pt x="3779" y="188"/>
                </a:cubicBezTo>
                <a:cubicBezTo>
                  <a:pt x="3779" y="293"/>
                  <a:pt x="3700" y="377"/>
                  <a:pt x="3590" y="377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3" name="REDOVERLAY">
            <a:extLst>
              <a:ext uri="{FF2B5EF4-FFF2-40B4-BE49-F238E27FC236}">
                <a16:creationId xmlns:a16="http://schemas.microsoft.com/office/drawing/2014/main" id="{DC51C0DB-E954-4822-929C-3677B06222CC}"/>
              </a:ext>
            </a:extLst>
          </p:cNvPr>
          <p:cNvSpPr/>
          <p:nvPr userDrawn="1"/>
        </p:nvSpPr>
        <p:spPr>
          <a:xfrm>
            <a:off x="7879963" y="6232613"/>
            <a:ext cx="2880000" cy="540000"/>
          </a:xfrm>
          <a:prstGeom prst="rect">
            <a:avLst/>
          </a:prstGeom>
          <a:solidFill>
            <a:srgbClr val="EC0016"/>
          </a:solidFill>
          <a:ln>
            <a:solidFill>
              <a:srgbClr val="EC001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marL="0" indent="0" algn="r">
              <a:buClr>
                <a:schemeClr val="accent2"/>
              </a:buClr>
              <a:buFont typeface="+mn-lt" panose="020B0502050202020204" pitchFamily="34" charset="0"/>
              <a:buNone/>
            </a:pPr>
            <a:endParaRPr lang="de-DE" sz="1600">
              <a:solidFill>
                <a:srgbClr val="FFFFFF"/>
              </a:solidFill>
            </a:endParaRP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83079CBA-223F-3CD2-FD26-7B5A281E462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3490" y="6467874"/>
            <a:ext cx="685800" cy="133350"/>
          </a:xfrm>
          <a:prstGeom prst="rect">
            <a:avLst/>
          </a:prstGeom>
        </p:spPr>
      </p:pic>
      <p:pic>
        <p:nvPicPr>
          <p:cNvPr id="8" name="Picture 11">
            <a:extLst>
              <a:ext uri="{FF2B5EF4-FFF2-40B4-BE49-F238E27FC236}">
                <a16:creationId xmlns:a16="http://schemas.microsoft.com/office/drawing/2014/main" id="{61D4F57B-D9DC-3CE2-21E6-B7CE3642F27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80903" y="357102"/>
            <a:ext cx="539622" cy="3777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689356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verzeichnis (Bild, Logo Ro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0">
            <a:extLst>
              <a:ext uri="{FF2B5EF4-FFF2-40B4-BE49-F238E27FC236}">
                <a16:creationId xmlns:a16="http://schemas.microsoft.com/office/drawing/2014/main" id="{E2BE1948-FCAB-44DC-8926-051C5011458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-1" y="0"/>
            <a:ext cx="12192001" cy="6858000"/>
          </a:xfrm>
          <a:solidFill>
            <a:srgbClr val="BFBFBF"/>
          </a:solidFill>
        </p:spPr>
        <p:txBody>
          <a:bodyPr tIns="360000" anchor="t"/>
          <a:lstStyle>
            <a:lvl1pPr marL="0" indent="0" algn="ctr" defTabSz="9144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DB Neo Office" pitchFamily="2" charset="0"/>
              <a:buNone/>
              <a:defRPr/>
            </a:lvl1pPr>
          </a:lstStyle>
          <a:p>
            <a:r>
              <a:rPr lang="de-DE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5B94DD2-B5F5-4C54-B070-51A7824E16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D45B80E-FA5E-4414-8A23-82CAB8E0D0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03.06.2026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01E907B-F3FD-4F7E-979E-473985CA80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13D9F7D-0C28-4C21-AA99-7C67E34F632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PULS">
            <a:extLst>
              <a:ext uri="{FF2B5EF4-FFF2-40B4-BE49-F238E27FC236}">
                <a16:creationId xmlns:a16="http://schemas.microsoft.com/office/drawing/2014/main" id="{4DAC0F8B-4A4D-455D-8D50-154C31AA3BE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280903" y="6472802"/>
            <a:ext cx="533272" cy="49581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93E3042-2834-4DDC-A64E-0471DC6D18B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1475" y="1916831"/>
            <a:ext cx="7920768" cy="4212507"/>
          </a:xfrm>
        </p:spPr>
        <p:txBody>
          <a:bodyPr/>
          <a:lstStyle>
            <a:lvl1pPr marL="895350" indent="-895350">
              <a:lnSpc>
                <a:spcPct val="105000"/>
              </a:lnSpc>
              <a:buClrTx/>
              <a:buFont typeface="+mj-lt"/>
              <a:buAutoNum type="arabicPeriod"/>
              <a:defRPr sz="3000" b="1">
                <a:solidFill>
                  <a:schemeClr val="bg1"/>
                </a:solidFill>
                <a:latin typeface="+mj-lt"/>
              </a:defRPr>
            </a:lvl1pPr>
            <a:lvl2pPr marL="1257300" indent="-355600">
              <a:defRPr sz="3000">
                <a:solidFill>
                  <a:schemeClr val="bg1"/>
                </a:solidFill>
                <a:latin typeface="+mj-lt"/>
              </a:defRPr>
            </a:lvl2pPr>
            <a:lvl3pPr>
              <a:defRPr sz="3000">
                <a:latin typeface="+mj-lt"/>
              </a:defRPr>
            </a:lvl3pPr>
            <a:lvl4pPr>
              <a:defRPr sz="3000">
                <a:latin typeface="+mj-lt"/>
              </a:defRPr>
            </a:lvl4pPr>
            <a:lvl5pPr>
              <a:defRPr sz="3000">
                <a:latin typeface="+mj-lt"/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DBLOGO">
            <a:extLst>
              <a:ext uri="{FF2B5EF4-FFF2-40B4-BE49-F238E27FC236}">
                <a16:creationId xmlns:a16="http://schemas.microsoft.com/office/drawing/2014/main" id="{34D3CC7E-1D5E-477C-9141-519D3F05929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280903" y="368660"/>
            <a:ext cx="539622" cy="378000"/>
          </a:xfrm>
          <a:blipFill>
            <a:blip r:embed="rId2"/>
            <a:stretch>
              <a:fillRect/>
            </a:stretch>
          </a:blipFill>
        </p:spPr>
        <p:txBody>
          <a:bodyPr vert="horz" lIns="0" tIns="0" rIns="0" bIns="0" rtlCol="0"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de-DE" sz="1000" dirty="0">
                <a:solidFill>
                  <a:schemeClr val="bg1"/>
                </a:solidFill>
              </a:defRPr>
            </a:lvl1pPr>
          </a:lstStyle>
          <a:p>
            <a:pPr marL="182563" lvl="0" indent="-182563"/>
            <a:r>
              <a:rPr lang="de-DE"/>
              <a:t> </a:t>
            </a:r>
          </a:p>
        </p:txBody>
      </p:sp>
      <p:sp>
        <p:nvSpPr>
          <p:cNvPr id="6" name="CUSTOMLOGO">
            <a:extLst>
              <a:ext uri="{FF2B5EF4-FFF2-40B4-BE49-F238E27FC236}">
                <a16:creationId xmlns:a16="http://schemas.microsoft.com/office/drawing/2014/main" id="{217E1447-2CA8-472D-B227-FE050FB5B6D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3490" y="6467874"/>
            <a:ext cx="685800" cy="13335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00">
                <a:solidFill>
                  <a:srgbClr val="FFFFFF"/>
                </a:solidFill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798105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verzeichnis (Bild, Logo Weiß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0">
            <a:extLst>
              <a:ext uri="{FF2B5EF4-FFF2-40B4-BE49-F238E27FC236}">
                <a16:creationId xmlns:a16="http://schemas.microsoft.com/office/drawing/2014/main" id="{E2BE1948-FCAB-44DC-8926-051C5011458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-1" y="0"/>
            <a:ext cx="12192001" cy="6858000"/>
          </a:xfrm>
          <a:solidFill>
            <a:srgbClr val="BFBFBF"/>
          </a:solidFill>
        </p:spPr>
        <p:txBody>
          <a:bodyPr tIns="360000" anchor="t"/>
          <a:lstStyle>
            <a:lvl1pPr marL="0" indent="0" algn="ctr" defTabSz="9144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DB Neo Office" pitchFamily="2" charset="0"/>
              <a:buNone/>
              <a:defRPr/>
            </a:lvl1pPr>
          </a:lstStyle>
          <a:p>
            <a:r>
              <a:rPr lang="de-DE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5B94DD2-B5F5-4C54-B070-51A7824E16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D45B80E-FA5E-4414-8A23-82CAB8E0D0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03.06.2026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01E907B-F3FD-4F7E-979E-473985CA80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13D9F7D-0C28-4C21-AA99-7C67E34F632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PULS">
            <a:extLst>
              <a:ext uri="{FF2B5EF4-FFF2-40B4-BE49-F238E27FC236}">
                <a16:creationId xmlns:a16="http://schemas.microsoft.com/office/drawing/2014/main" id="{4DAC0F8B-4A4D-455D-8D50-154C31AA3BE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280903" y="6472802"/>
            <a:ext cx="533272" cy="49581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93E3042-2834-4DDC-A64E-0471DC6D18B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1475" y="1916831"/>
            <a:ext cx="7920768" cy="4175993"/>
          </a:xfrm>
        </p:spPr>
        <p:txBody>
          <a:bodyPr/>
          <a:lstStyle>
            <a:lvl1pPr marL="895350" indent="-895350">
              <a:lnSpc>
                <a:spcPct val="105000"/>
              </a:lnSpc>
              <a:buClrTx/>
              <a:buFont typeface="+mj-lt"/>
              <a:buAutoNum type="arabicPeriod"/>
              <a:defRPr sz="3000" b="1">
                <a:solidFill>
                  <a:schemeClr val="bg1"/>
                </a:solidFill>
                <a:latin typeface="+mj-lt"/>
              </a:defRPr>
            </a:lvl1pPr>
            <a:lvl2pPr marL="1257300" indent="-355600">
              <a:defRPr sz="3000">
                <a:solidFill>
                  <a:schemeClr val="bg1"/>
                </a:solidFill>
                <a:latin typeface="+mj-lt"/>
              </a:defRPr>
            </a:lvl2pPr>
            <a:lvl3pPr>
              <a:defRPr sz="3000">
                <a:latin typeface="+mj-lt"/>
              </a:defRPr>
            </a:lvl3pPr>
            <a:lvl4pPr>
              <a:defRPr sz="3000">
                <a:latin typeface="+mj-lt"/>
              </a:defRPr>
            </a:lvl4pPr>
            <a:lvl5pPr>
              <a:defRPr sz="3000">
                <a:latin typeface="+mj-lt"/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DBLOGO">
            <a:extLst>
              <a:ext uri="{FF2B5EF4-FFF2-40B4-BE49-F238E27FC236}">
                <a16:creationId xmlns:a16="http://schemas.microsoft.com/office/drawing/2014/main" id="{34D3CC7E-1D5E-477C-9141-519D3F05929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280903" y="368660"/>
            <a:ext cx="539622" cy="378000"/>
          </a:xfrm>
          <a:blipFill>
            <a:blip r:embed="rId2"/>
            <a:stretch>
              <a:fillRect/>
            </a:stretch>
          </a:blipFill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de-DE" sz="1000" dirty="0">
                <a:solidFill>
                  <a:schemeClr val="bg1"/>
                </a:solidFill>
              </a:defRPr>
            </a:lvl1pPr>
          </a:lstStyle>
          <a:p>
            <a:pPr marL="0" lvl="0" indent="0">
              <a:buNone/>
            </a:pPr>
            <a:r>
              <a:rPr lang="de-DE"/>
              <a:t> </a:t>
            </a:r>
          </a:p>
        </p:txBody>
      </p:sp>
      <p:sp>
        <p:nvSpPr>
          <p:cNvPr id="11" name="CUSTOMLOGO">
            <a:extLst>
              <a:ext uri="{FF2B5EF4-FFF2-40B4-BE49-F238E27FC236}">
                <a16:creationId xmlns:a16="http://schemas.microsoft.com/office/drawing/2014/main" id="{82D0C128-0A66-4A3A-A509-1C28884E38B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3490" y="6467874"/>
            <a:ext cx="685800" cy="13335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00">
                <a:solidFill>
                  <a:srgbClr val="FFFFFF"/>
                </a:solidFill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189238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3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image" Target="../media/image4.svg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D27DB810-CDF5-41AC-8E51-9EBC8EC0B1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4" y="296696"/>
            <a:ext cx="10602893" cy="86405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2AE7966-514A-4D81-97FD-6AD3A07C804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1474" y="1449388"/>
            <a:ext cx="11449051" cy="46799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2C0766E-DEEA-4949-912D-67F535F0E6A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2061" y="6537600"/>
            <a:ext cx="10548843" cy="21602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/>
              <a:t>03.06.2026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374309D-71AA-45D4-974A-6D58CB1760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80903" y="6537600"/>
            <a:ext cx="539622" cy="21602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913D9F7D-0C28-4C21-AA99-7C67E34F632A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4F629909-3F3B-B946-91EF-D49519C4F1F0}"/>
              </a:ext>
            </a:extLst>
          </p:cNvPr>
          <p:cNvPicPr>
            <a:picLocks noChangeAspect="1"/>
          </p:cNvPicPr>
          <p:nvPr userDrawn="1"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280903" y="368660"/>
            <a:ext cx="539622" cy="377809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FDE7FD38-4C24-1C44-B92F-B053B9DC1D6B}"/>
              </a:ext>
            </a:extLst>
          </p:cNvPr>
          <p:cNvPicPr>
            <a:picLocks noChangeAspect="1"/>
          </p:cNvPicPr>
          <p:nvPr userDrawn="1"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80903" y="6472801"/>
            <a:ext cx="539622" cy="53391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71C90B31-5FD5-B3FE-4A0E-FFCAB3FEF8DD}"/>
              </a:ext>
            </a:extLst>
          </p:cNvPr>
          <p:cNvPicPr>
            <a:picLocks noChangeAspect="1"/>
          </p:cNvPicPr>
          <p:nvPr userDrawn="1"/>
        </p:nvPicPr>
        <p:blipFill>
          <a:blip r:embed="rId34">
            <a:extLs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383490" y="6467874"/>
            <a:ext cx="685800" cy="133350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8CB42338-D2CD-BD89-52D4-F0242F7950D4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12700" y="12700"/>
            <a:ext cx="1824038" cy="16764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de-DE" sz="1100">
                <a:solidFill>
                  <a:srgbClr val="EC0016">
                    <a:alpha val="50000"/>
                  </a:srgbClr>
                </a:solidFill>
                <a:latin typeface="DB Neo Office" pitchFamily="2" charset="0"/>
              </a:rPr>
              <a:t>          DB Intern / DB internal</a:t>
            </a:r>
          </a:p>
        </p:txBody>
      </p:sp>
    </p:spTree>
    <p:extLst>
      <p:ext uri="{BB962C8B-B14F-4D97-AF65-F5344CB8AC3E}">
        <p14:creationId xmlns:p14="http://schemas.microsoft.com/office/powerpoint/2010/main" val="22647296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61" r:id="rId3"/>
    <p:sldLayoutId id="2147483675" r:id="rId4"/>
    <p:sldLayoutId id="2147483663" r:id="rId5"/>
    <p:sldLayoutId id="2147483681" r:id="rId6"/>
    <p:sldLayoutId id="2147483680" r:id="rId7"/>
    <p:sldLayoutId id="2147483666" r:id="rId8"/>
    <p:sldLayoutId id="2147483682" r:id="rId9"/>
    <p:sldLayoutId id="2147483664" r:id="rId10"/>
    <p:sldLayoutId id="2147483665" r:id="rId11"/>
    <p:sldLayoutId id="2147483679" r:id="rId12"/>
    <p:sldLayoutId id="2147483650" r:id="rId13"/>
    <p:sldLayoutId id="2147483673" r:id="rId14"/>
    <p:sldLayoutId id="2147483685" r:id="rId15"/>
    <p:sldLayoutId id="2147483674" r:id="rId16"/>
    <p:sldLayoutId id="2147483668" r:id="rId17"/>
    <p:sldLayoutId id="2147483677" r:id="rId18"/>
    <p:sldLayoutId id="2147483654" r:id="rId19"/>
    <p:sldLayoutId id="2147483670" r:id="rId20"/>
    <p:sldLayoutId id="2147483655" r:id="rId21"/>
    <p:sldLayoutId id="2147483669" r:id="rId22"/>
    <p:sldLayoutId id="2147483676" r:id="rId23"/>
    <p:sldLayoutId id="2147483667" r:id="rId24"/>
    <p:sldLayoutId id="2147483678" r:id="rId25"/>
    <p:sldLayoutId id="2147483658" r:id="rId26"/>
    <p:sldLayoutId id="2147483657" r:id="rId27"/>
    <p:sldLayoutId id="2147483690" r:id="rId28"/>
    <p:sldLayoutId id="2147483660" r:id="rId29"/>
    <p:sldLayoutId id="2147483691" r:id="rId30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563" indent="-182563" algn="l" defTabSz="914400" rtl="0" eaLnBrk="1" latinLnBrk="0" hangingPunct="1">
        <a:lnSpc>
          <a:spcPct val="105000"/>
        </a:lnSpc>
        <a:spcBef>
          <a:spcPts val="600"/>
        </a:spcBef>
        <a:spcAft>
          <a:spcPts val="0"/>
        </a:spcAft>
        <a:buClr>
          <a:schemeClr val="accent2"/>
        </a:buClr>
        <a:buFont typeface="DB Neo Office" pitchFamily="2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8775" indent="-176213" algn="l" defTabSz="914400" rtl="0" eaLnBrk="1" latinLnBrk="0" hangingPunct="1">
        <a:lnSpc>
          <a:spcPct val="105000"/>
        </a:lnSpc>
        <a:spcBef>
          <a:spcPts val="600"/>
        </a:spcBef>
        <a:spcAft>
          <a:spcPts val="0"/>
        </a:spcAft>
        <a:buClr>
          <a:schemeClr val="accent2"/>
        </a:buClr>
        <a:buFont typeface="DB Neo Office" pitchFamily="2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1338" indent="-182563" algn="l" defTabSz="914400" rtl="0" eaLnBrk="1" latinLnBrk="0" hangingPunct="1">
        <a:lnSpc>
          <a:spcPct val="105000"/>
        </a:lnSpc>
        <a:spcBef>
          <a:spcPts val="600"/>
        </a:spcBef>
        <a:spcAft>
          <a:spcPts val="0"/>
        </a:spcAft>
        <a:buClr>
          <a:schemeClr val="accent2"/>
        </a:buClr>
        <a:buFont typeface="DB Neo Office" pitchFamily="2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74625" algn="l" defTabSz="914400" rtl="0" eaLnBrk="1" latinLnBrk="0" hangingPunct="1">
        <a:lnSpc>
          <a:spcPct val="105000"/>
        </a:lnSpc>
        <a:spcBef>
          <a:spcPts val="600"/>
        </a:spcBef>
        <a:spcAft>
          <a:spcPts val="0"/>
        </a:spcAft>
        <a:buClr>
          <a:schemeClr val="accent2"/>
        </a:buClr>
        <a:buFont typeface="DB Neo Office" pitchFamily="2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914400" rtl="0" eaLnBrk="1" latinLnBrk="0" hangingPunct="1">
        <a:lnSpc>
          <a:spcPct val="105000"/>
        </a:lnSpc>
        <a:spcBef>
          <a:spcPts val="600"/>
        </a:spcBef>
        <a:spcAft>
          <a:spcPts val="0"/>
        </a:spcAft>
        <a:buClr>
          <a:schemeClr val="accent2"/>
        </a:buClr>
        <a:buFont typeface="DB Neo Office" pitchFamily="2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32" userDrawn="1">
          <p15:clr>
            <a:srgbClr val="F26B43"/>
          </p15:clr>
        </p15:guide>
        <p15:guide id="3" pos="7446" userDrawn="1">
          <p15:clr>
            <a:srgbClr val="F26B43"/>
          </p15:clr>
        </p15:guide>
        <p15:guide id="7" pos="3727" userDrawn="1">
          <p15:clr>
            <a:srgbClr val="F26B43"/>
          </p15:clr>
        </p15:guide>
        <p15:guide id="8" pos="3953" userDrawn="1">
          <p15:clr>
            <a:srgbClr val="F26B43"/>
          </p15:clr>
        </p15:guide>
        <p15:guide id="9" orient="horz" pos="913" userDrawn="1">
          <p15:clr>
            <a:srgbClr val="F26B43"/>
          </p15:clr>
        </p15:guide>
        <p15:guide id="10" orient="horz" pos="3861" userDrawn="1">
          <p15:clr>
            <a:srgbClr val="F26B43"/>
          </p15:clr>
        </p15:guide>
        <p15:guide id="11" pos="23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7" Type="http://schemas.openxmlformats.org/officeDocument/2006/relationships/image" Target="../media/image20.sv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9.png"/><Relationship Id="rId5" Type="http://schemas.openxmlformats.org/officeDocument/2006/relationships/image" Target="../media/image18.svg"/><Relationship Id="rId4" Type="http://schemas.openxmlformats.org/officeDocument/2006/relationships/image" Target="../media/image17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2.svg"/><Relationship Id="rId7" Type="http://schemas.openxmlformats.org/officeDocument/2006/relationships/image" Target="../media/image26.svg"/><Relationship Id="rId12" Type="http://schemas.openxmlformats.org/officeDocument/2006/relationships/image" Target="../media/image31.sv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25.png"/><Relationship Id="rId11" Type="http://schemas.openxmlformats.org/officeDocument/2006/relationships/image" Target="../media/image30.svg"/><Relationship Id="rId5" Type="http://schemas.openxmlformats.org/officeDocument/2006/relationships/image" Target="../media/image24.svg"/><Relationship Id="rId10" Type="http://schemas.openxmlformats.org/officeDocument/2006/relationships/image" Target="../media/image29.png"/><Relationship Id="rId4" Type="http://schemas.openxmlformats.org/officeDocument/2006/relationships/image" Target="../media/image23.png"/><Relationship Id="rId9" Type="http://schemas.openxmlformats.org/officeDocument/2006/relationships/image" Target="../media/image28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13" Type="http://schemas.openxmlformats.org/officeDocument/2006/relationships/image" Target="../media/image41.svg"/><Relationship Id="rId3" Type="http://schemas.openxmlformats.org/officeDocument/2006/relationships/image" Target="../media/image26.svg"/><Relationship Id="rId7" Type="http://schemas.openxmlformats.org/officeDocument/2006/relationships/image" Target="../media/image35.svg"/><Relationship Id="rId12" Type="http://schemas.openxmlformats.org/officeDocument/2006/relationships/image" Target="../media/image40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34.png"/><Relationship Id="rId11" Type="http://schemas.openxmlformats.org/officeDocument/2006/relationships/image" Target="../media/image39.svg"/><Relationship Id="rId5" Type="http://schemas.openxmlformats.org/officeDocument/2006/relationships/image" Target="../media/image33.svg"/><Relationship Id="rId10" Type="http://schemas.openxmlformats.org/officeDocument/2006/relationships/image" Target="../media/image38.png"/><Relationship Id="rId4" Type="http://schemas.openxmlformats.org/officeDocument/2006/relationships/image" Target="../media/image32.png"/><Relationship Id="rId9" Type="http://schemas.openxmlformats.org/officeDocument/2006/relationships/image" Target="../media/image37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.xml"/><Relationship Id="rId5" Type="http://schemas.openxmlformats.org/officeDocument/2006/relationships/image" Target="../media/image42.emf"/><Relationship Id="rId4" Type="http://schemas.openxmlformats.org/officeDocument/2006/relationships/oleObject" Target="../embeddings/oleObject1.bin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3.xml"/><Relationship Id="rId4" Type="http://schemas.openxmlformats.org/officeDocument/2006/relationships/image" Target="../media/image43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A961589-0BB8-45F0-BBA2-0071AC68372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9652" y="1600200"/>
            <a:ext cx="11240873" cy="1612776"/>
          </a:xfrm>
        </p:spPr>
        <p:txBody>
          <a:bodyPr/>
          <a:lstStyle/>
          <a:p>
            <a:r>
              <a:rPr lang="de-DE" noProof="0"/>
              <a:t>Access </a:t>
            </a:r>
            <a:r>
              <a:rPr lang="de-DE" noProof="0" err="1"/>
              <a:t>to</a:t>
            </a:r>
            <a:r>
              <a:rPr lang="de-DE" noProof="0"/>
              <a:t> German </a:t>
            </a:r>
            <a:r>
              <a:rPr lang="de-DE" noProof="0" err="1"/>
              <a:t>traction</a:t>
            </a:r>
            <a:r>
              <a:rPr lang="de-DE" noProof="0"/>
              <a:t> </a:t>
            </a:r>
            <a:r>
              <a:rPr lang="de-DE" noProof="0" err="1"/>
              <a:t>grid</a:t>
            </a:r>
            <a:endParaRPr lang="de-DE" noProof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0E0A104-346E-4839-9BCB-A1CCFC08C62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9652" y="3303198"/>
            <a:ext cx="11240873" cy="683654"/>
          </a:xfrm>
        </p:spPr>
        <p:txBody>
          <a:bodyPr/>
          <a:lstStyle/>
          <a:p>
            <a:r>
              <a:rPr lang="de-DE" noProof="0" err="1">
                <a:solidFill>
                  <a:srgbClr val="FF0000"/>
                </a:solidFill>
              </a:rPr>
              <a:t>starting</a:t>
            </a:r>
            <a:r>
              <a:rPr lang="de-DE" noProof="0">
                <a:solidFill>
                  <a:srgbClr val="FF0000"/>
                </a:solidFill>
              </a:rPr>
              <a:t> 01. Juli 2026</a:t>
            </a:r>
          </a:p>
          <a:p>
            <a:endParaRPr lang="de-DE" noProof="0">
              <a:solidFill>
                <a:srgbClr val="FF0000"/>
              </a:solidFill>
            </a:endParaRPr>
          </a:p>
          <a:p>
            <a:endParaRPr lang="de-DE" noProof="0">
              <a:solidFill>
                <a:srgbClr val="FF0000"/>
              </a:solidFill>
            </a:endParaRP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62AA9A6-C763-437C-9E06-2BBABCA0EBB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9652" y="5928611"/>
            <a:ext cx="11240873" cy="380709"/>
          </a:xfrm>
        </p:spPr>
        <p:txBody>
          <a:bodyPr/>
          <a:lstStyle/>
          <a:p>
            <a:r>
              <a:rPr lang="de-DE" noProof="0"/>
              <a:t>0</a:t>
            </a:r>
            <a:r>
              <a:rPr lang="de-DE"/>
              <a:t>3</a:t>
            </a:r>
            <a:r>
              <a:rPr lang="de-DE" noProof="0"/>
              <a:t>.06.2026  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5AC4B31A-FAB3-0F92-FDEF-73BC23B1FCF1}"/>
              </a:ext>
            </a:extLst>
          </p:cNvPr>
          <p:cNvSpPr txBox="1"/>
          <p:nvPr/>
        </p:nvSpPr>
        <p:spPr>
          <a:xfrm>
            <a:off x="13750" y="8360"/>
            <a:ext cx="2337564" cy="380709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>
            <a:spAutoFit/>
          </a:bodyPr>
          <a:lstStyle/>
          <a:p>
            <a:pPr marL="180000" indent="-180000" algn="l">
              <a:buClr>
                <a:schemeClr val="accent2"/>
              </a:buClr>
              <a:buFont typeface="+mn-lt"/>
              <a:buChar char="•"/>
            </a:pPr>
            <a:endParaRPr lang="de-DE" sz="1600"/>
          </a:p>
        </p:txBody>
      </p:sp>
    </p:spTree>
    <p:extLst>
      <p:ext uri="{BB962C8B-B14F-4D97-AF65-F5344CB8AC3E}">
        <p14:creationId xmlns:p14="http://schemas.microsoft.com/office/powerpoint/2010/main" val="324689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FA1CB09-FF4F-279D-995E-DE6B9B50BE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Background and regulatory framework</a:t>
            </a:r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CE58DCD-1338-2FDD-9E31-A616084FAF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03.06.2026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6EC0FF2-DCFF-1E9F-DD67-E13879C669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D9F7D-0C28-4C21-AA99-7C67E34F632A}" type="slidenum">
              <a:rPr lang="de-DE" smtClean="0"/>
              <a:t>2</a:t>
            </a:fld>
            <a:endParaRPr lang="de-DE"/>
          </a:p>
        </p:txBody>
      </p:sp>
      <p:sp>
        <p:nvSpPr>
          <p:cNvPr id="6" name="Shape 9">
            <a:extLst>
              <a:ext uri="{FF2B5EF4-FFF2-40B4-BE49-F238E27FC236}">
                <a16:creationId xmlns:a16="http://schemas.microsoft.com/office/drawing/2014/main" id="{97CD9A7E-8045-538A-F49A-7860E49EB619}"/>
              </a:ext>
            </a:extLst>
          </p:cNvPr>
          <p:cNvSpPr/>
          <p:nvPr/>
        </p:nvSpPr>
        <p:spPr>
          <a:xfrm>
            <a:off x="402336" y="2100835"/>
            <a:ext cx="11247120" cy="45719"/>
          </a:xfrm>
          <a:prstGeom prst="rect">
            <a:avLst/>
          </a:prstGeom>
          <a:solidFill>
            <a:srgbClr val="D5D8DD"/>
          </a:solidFill>
          <a:ln w="12700">
            <a:solidFill>
              <a:srgbClr val="D5D8DD"/>
            </a:solidFill>
            <a:prstDash val="solid"/>
          </a:ln>
        </p:spPr>
        <p:txBody>
          <a:bodyPr/>
          <a:lstStyle/>
          <a:p>
            <a:endParaRPr lang="de-DE"/>
          </a:p>
        </p:txBody>
      </p:sp>
      <p:sp>
        <p:nvSpPr>
          <p:cNvPr id="7" name="Shape 10">
            <a:extLst>
              <a:ext uri="{FF2B5EF4-FFF2-40B4-BE49-F238E27FC236}">
                <a16:creationId xmlns:a16="http://schemas.microsoft.com/office/drawing/2014/main" id="{83D5A4ED-615C-EEDF-AFC2-C544BCD440B7}"/>
              </a:ext>
            </a:extLst>
          </p:cNvPr>
          <p:cNvSpPr/>
          <p:nvPr/>
        </p:nvSpPr>
        <p:spPr>
          <a:xfrm>
            <a:off x="2089404" y="2009394"/>
            <a:ext cx="237744" cy="237744"/>
          </a:xfrm>
          <a:prstGeom prst="ellipse">
            <a:avLst/>
          </a:prstGeom>
          <a:solidFill>
            <a:srgbClr val="131821"/>
          </a:solidFill>
          <a:ln w="25400">
            <a:solidFill>
              <a:srgbClr val="FFFFFF"/>
            </a:solidFill>
            <a:prstDash val="solid"/>
          </a:ln>
        </p:spPr>
        <p:txBody>
          <a:bodyPr/>
          <a:lstStyle/>
          <a:p>
            <a:endParaRPr lang="de-DE"/>
          </a:p>
        </p:txBody>
      </p:sp>
      <p:sp>
        <p:nvSpPr>
          <p:cNvPr id="8" name="Shape 11">
            <a:extLst>
              <a:ext uri="{FF2B5EF4-FFF2-40B4-BE49-F238E27FC236}">
                <a16:creationId xmlns:a16="http://schemas.microsoft.com/office/drawing/2014/main" id="{19C45DD3-78B5-4E57-A99D-E4D2DB707B6B}"/>
              </a:ext>
            </a:extLst>
          </p:cNvPr>
          <p:cNvSpPr/>
          <p:nvPr/>
        </p:nvSpPr>
        <p:spPr>
          <a:xfrm>
            <a:off x="1431036" y="1538478"/>
            <a:ext cx="1554480" cy="329184"/>
          </a:xfrm>
          <a:prstGeom prst="rect">
            <a:avLst/>
          </a:prstGeom>
          <a:solidFill>
            <a:srgbClr val="131821"/>
          </a:solidFill>
          <a:ln w="12700">
            <a:solidFill>
              <a:srgbClr val="131821"/>
            </a:solidFill>
            <a:prstDash val="solid"/>
          </a:ln>
        </p:spPr>
        <p:txBody>
          <a:bodyPr/>
          <a:lstStyle/>
          <a:p>
            <a:endParaRPr lang="de-DE"/>
          </a:p>
        </p:txBody>
      </p:sp>
      <p:sp>
        <p:nvSpPr>
          <p:cNvPr id="9" name="Text 12">
            <a:extLst>
              <a:ext uri="{FF2B5EF4-FFF2-40B4-BE49-F238E27FC236}">
                <a16:creationId xmlns:a16="http://schemas.microsoft.com/office/drawing/2014/main" id="{601F516A-4328-9EA5-6D07-D10084ADB144}"/>
              </a:ext>
            </a:extLst>
          </p:cNvPr>
          <p:cNvSpPr/>
          <p:nvPr/>
        </p:nvSpPr>
        <p:spPr>
          <a:xfrm>
            <a:off x="1431036" y="1538478"/>
            <a:ext cx="1554480" cy="32918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1100" b="1">
                <a:solidFill>
                  <a:srgbClr val="FFFFFF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27.06.2022</a:t>
            </a:r>
            <a:endParaRPr lang="en-US" sz="1100"/>
          </a:p>
        </p:txBody>
      </p:sp>
      <p:sp>
        <p:nvSpPr>
          <p:cNvPr id="10" name="Shape 13">
            <a:extLst>
              <a:ext uri="{FF2B5EF4-FFF2-40B4-BE49-F238E27FC236}">
                <a16:creationId xmlns:a16="http://schemas.microsoft.com/office/drawing/2014/main" id="{4B44770C-3901-722F-51E9-766ED3FA500F}"/>
              </a:ext>
            </a:extLst>
          </p:cNvPr>
          <p:cNvSpPr/>
          <p:nvPr/>
        </p:nvSpPr>
        <p:spPr>
          <a:xfrm>
            <a:off x="402336" y="2288286"/>
            <a:ext cx="3611880" cy="804672"/>
          </a:xfrm>
          <a:prstGeom prst="rect">
            <a:avLst/>
          </a:prstGeom>
          <a:solidFill>
            <a:srgbClr val="F0F3F5"/>
          </a:solidFill>
          <a:ln w="12700">
            <a:solidFill>
              <a:srgbClr val="F0F3F5"/>
            </a:solidFill>
            <a:prstDash val="solid"/>
          </a:ln>
        </p:spPr>
        <p:txBody>
          <a:bodyPr/>
          <a:lstStyle/>
          <a:p>
            <a:endParaRPr lang="de-DE"/>
          </a:p>
        </p:txBody>
      </p:sp>
      <p:sp>
        <p:nvSpPr>
          <p:cNvPr id="11" name="Shape 14">
            <a:extLst>
              <a:ext uri="{FF2B5EF4-FFF2-40B4-BE49-F238E27FC236}">
                <a16:creationId xmlns:a16="http://schemas.microsoft.com/office/drawing/2014/main" id="{3943225E-52BB-81F2-E926-2CF546F9044F}"/>
              </a:ext>
            </a:extLst>
          </p:cNvPr>
          <p:cNvSpPr/>
          <p:nvPr/>
        </p:nvSpPr>
        <p:spPr>
          <a:xfrm>
            <a:off x="402336" y="2260854"/>
            <a:ext cx="3611880" cy="54864"/>
          </a:xfrm>
          <a:prstGeom prst="rect">
            <a:avLst/>
          </a:prstGeom>
          <a:solidFill>
            <a:srgbClr val="131821"/>
          </a:solidFill>
          <a:ln w="12700">
            <a:solidFill>
              <a:srgbClr val="131821"/>
            </a:solidFill>
            <a:prstDash val="solid"/>
          </a:ln>
        </p:spPr>
        <p:txBody>
          <a:bodyPr/>
          <a:lstStyle/>
          <a:p>
            <a:endParaRPr lang="de-DE"/>
          </a:p>
        </p:txBody>
      </p:sp>
      <p:sp>
        <p:nvSpPr>
          <p:cNvPr id="12" name="Shape 15">
            <a:extLst>
              <a:ext uri="{FF2B5EF4-FFF2-40B4-BE49-F238E27FC236}">
                <a16:creationId xmlns:a16="http://schemas.microsoft.com/office/drawing/2014/main" id="{98AD4872-22BF-C07E-C26A-823BE572617B}"/>
              </a:ext>
            </a:extLst>
          </p:cNvPr>
          <p:cNvSpPr/>
          <p:nvPr/>
        </p:nvSpPr>
        <p:spPr>
          <a:xfrm>
            <a:off x="566928" y="2471166"/>
            <a:ext cx="502920" cy="502920"/>
          </a:xfrm>
          <a:prstGeom prst="ellipse">
            <a:avLst/>
          </a:prstGeom>
          <a:solidFill>
            <a:srgbClr val="FFFFFF"/>
          </a:solidFill>
          <a:ln w="19050">
            <a:solidFill>
              <a:srgbClr val="131821"/>
            </a:solidFill>
            <a:prstDash val="solid"/>
          </a:ln>
        </p:spPr>
        <p:txBody>
          <a:bodyPr/>
          <a:lstStyle/>
          <a:p>
            <a:endParaRPr lang="de-DE"/>
          </a:p>
        </p:txBody>
      </p:sp>
      <p:pic>
        <p:nvPicPr>
          <p:cNvPr id="13" name="Image 0" descr="preencoded.png">
            <a:extLst>
              <a:ext uri="{FF2B5EF4-FFF2-40B4-BE49-F238E27FC236}">
                <a16:creationId xmlns:a16="http://schemas.microsoft.com/office/drawing/2014/main" id="{24941CD3-C7D0-B484-A4AD-F656B2490C0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85800" y="2590038"/>
            <a:ext cx="274320" cy="274320"/>
          </a:xfrm>
          <a:prstGeom prst="rect">
            <a:avLst/>
          </a:prstGeom>
        </p:spPr>
      </p:pic>
      <p:sp>
        <p:nvSpPr>
          <p:cNvPr id="14" name="Text 16">
            <a:extLst>
              <a:ext uri="{FF2B5EF4-FFF2-40B4-BE49-F238E27FC236}">
                <a16:creationId xmlns:a16="http://schemas.microsoft.com/office/drawing/2014/main" id="{0057E17F-7A32-51F8-7C09-919D6EAFAE6C}"/>
              </a:ext>
            </a:extLst>
          </p:cNvPr>
          <p:cNvSpPr/>
          <p:nvPr/>
        </p:nvSpPr>
        <p:spPr>
          <a:xfrm>
            <a:off x="1145133" y="2407158"/>
            <a:ext cx="2807208" cy="29260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1400" b="1">
                <a:solidFill>
                  <a:srgbClr val="131821"/>
                </a:solidFill>
                <a:latin typeface="Arial" pitchFamily="34" charset="0"/>
                <a:cs typeface="Arial" pitchFamily="34" charset="-120"/>
              </a:rPr>
              <a:t>Decision by Regulatory authority</a:t>
            </a:r>
            <a:endParaRPr lang="en-US" sz="1400"/>
          </a:p>
        </p:txBody>
      </p:sp>
      <p:sp>
        <p:nvSpPr>
          <p:cNvPr id="15" name="Text 17">
            <a:extLst>
              <a:ext uri="{FF2B5EF4-FFF2-40B4-BE49-F238E27FC236}">
                <a16:creationId xmlns:a16="http://schemas.microsoft.com/office/drawing/2014/main" id="{6231548D-7D22-35EB-F57E-2EEC6B5343AC}"/>
              </a:ext>
            </a:extLst>
          </p:cNvPr>
          <p:cNvSpPr/>
          <p:nvPr/>
        </p:nvSpPr>
        <p:spPr>
          <a:xfrm>
            <a:off x="1145132" y="2681478"/>
            <a:ext cx="2807208" cy="41148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l">
              <a:buNone/>
            </a:pPr>
            <a:r>
              <a:rPr lang="en-US" sz="1000" err="1"/>
              <a:t>Bundesnetzagentur</a:t>
            </a:r>
            <a:r>
              <a:rPr lang="en-US" sz="1000"/>
              <a:t> issues mandatory framework of how grid access is stipulated to function</a:t>
            </a:r>
          </a:p>
        </p:txBody>
      </p:sp>
      <p:sp>
        <p:nvSpPr>
          <p:cNvPr id="16" name="Shape 21">
            <a:extLst>
              <a:ext uri="{FF2B5EF4-FFF2-40B4-BE49-F238E27FC236}">
                <a16:creationId xmlns:a16="http://schemas.microsoft.com/office/drawing/2014/main" id="{2A5EB014-6891-620A-43B6-B0189682B9F6}"/>
              </a:ext>
            </a:extLst>
          </p:cNvPr>
          <p:cNvSpPr/>
          <p:nvPr/>
        </p:nvSpPr>
        <p:spPr>
          <a:xfrm>
            <a:off x="4219956" y="2288286"/>
            <a:ext cx="3611880" cy="804672"/>
          </a:xfrm>
          <a:prstGeom prst="rect">
            <a:avLst/>
          </a:prstGeom>
          <a:solidFill>
            <a:srgbClr val="F0F3F5"/>
          </a:solidFill>
          <a:ln w="12700">
            <a:solidFill>
              <a:srgbClr val="F0F3F5"/>
            </a:solidFill>
            <a:prstDash val="solid"/>
          </a:ln>
        </p:spPr>
        <p:txBody>
          <a:bodyPr/>
          <a:lstStyle/>
          <a:p>
            <a:endParaRPr lang="de-DE"/>
          </a:p>
        </p:txBody>
      </p:sp>
      <p:sp>
        <p:nvSpPr>
          <p:cNvPr id="17" name="Shape 22">
            <a:extLst>
              <a:ext uri="{FF2B5EF4-FFF2-40B4-BE49-F238E27FC236}">
                <a16:creationId xmlns:a16="http://schemas.microsoft.com/office/drawing/2014/main" id="{A59AE1D6-0E63-5079-2111-BBA4B5FA9F55}"/>
              </a:ext>
            </a:extLst>
          </p:cNvPr>
          <p:cNvSpPr/>
          <p:nvPr/>
        </p:nvSpPr>
        <p:spPr>
          <a:xfrm>
            <a:off x="4219956" y="2288286"/>
            <a:ext cx="3611880" cy="54864"/>
          </a:xfrm>
          <a:prstGeom prst="rect">
            <a:avLst/>
          </a:prstGeom>
          <a:solidFill>
            <a:srgbClr val="131821"/>
          </a:solidFill>
          <a:ln w="12700">
            <a:solidFill>
              <a:srgbClr val="131821"/>
            </a:solidFill>
            <a:prstDash val="solid"/>
          </a:ln>
        </p:spPr>
        <p:txBody>
          <a:bodyPr/>
          <a:lstStyle/>
          <a:p>
            <a:endParaRPr lang="de-DE"/>
          </a:p>
        </p:txBody>
      </p:sp>
      <p:sp>
        <p:nvSpPr>
          <p:cNvPr id="18" name="Shape 23">
            <a:extLst>
              <a:ext uri="{FF2B5EF4-FFF2-40B4-BE49-F238E27FC236}">
                <a16:creationId xmlns:a16="http://schemas.microsoft.com/office/drawing/2014/main" id="{203CF642-A1FB-619A-B009-0249F772ECCE}"/>
              </a:ext>
            </a:extLst>
          </p:cNvPr>
          <p:cNvSpPr/>
          <p:nvPr/>
        </p:nvSpPr>
        <p:spPr>
          <a:xfrm>
            <a:off x="4384548" y="2471166"/>
            <a:ext cx="502920" cy="502920"/>
          </a:xfrm>
          <a:prstGeom prst="ellipse">
            <a:avLst/>
          </a:prstGeom>
          <a:solidFill>
            <a:srgbClr val="FFFFFF"/>
          </a:solidFill>
          <a:ln w="19050">
            <a:solidFill>
              <a:srgbClr val="131821"/>
            </a:solidFill>
            <a:prstDash val="solid"/>
          </a:ln>
        </p:spPr>
        <p:txBody>
          <a:bodyPr/>
          <a:lstStyle/>
          <a:p>
            <a:endParaRPr lang="de-DE"/>
          </a:p>
        </p:txBody>
      </p:sp>
      <p:pic>
        <p:nvPicPr>
          <p:cNvPr id="19" name="Image 1" descr="preencoded.png">
            <a:extLst>
              <a:ext uri="{FF2B5EF4-FFF2-40B4-BE49-F238E27FC236}">
                <a16:creationId xmlns:a16="http://schemas.microsoft.com/office/drawing/2014/main" id="{D1E85DEB-908B-EC08-8B60-74EBB9634F7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503420" y="2590038"/>
            <a:ext cx="274320" cy="274320"/>
          </a:xfrm>
          <a:prstGeom prst="rect">
            <a:avLst/>
          </a:prstGeom>
        </p:spPr>
      </p:pic>
      <p:sp>
        <p:nvSpPr>
          <p:cNvPr id="20" name="Text 24">
            <a:extLst>
              <a:ext uri="{FF2B5EF4-FFF2-40B4-BE49-F238E27FC236}">
                <a16:creationId xmlns:a16="http://schemas.microsoft.com/office/drawing/2014/main" id="{8BFD6F4C-AEA1-79A3-B3EF-B2FF02E9425C}"/>
              </a:ext>
            </a:extLst>
          </p:cNvPr>
          <p:cNvSpPr/>
          <p:nvPr/>
        </p:nvSpPr>
        <p:spPr>
          <a:xfrm>
            <a:off x="5006340" y="2523117"/>
            <a:ext cx="2697480" cy="29260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1400" b="1">
                <a:solidFill>
                  <a:srgbClr val="131821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Grid access contracts by </a:t>
            </a:r>
            <a:br>
              <a:rPr lang="en-US" sz="1400" b="1">
                <a:solidFill>
                  <a:srgbClr val="131821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</a:br>
            <a:r>
              <a:rPr lang="en-US" sz="1400" b="1">
                <a:solidFill>
                  <a:srgbClr val="131821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DB Energie</a:t>
            </a:r>
            <a:endParaRPr lang="en-US" sz="1400"/>
          </a:p>
        </p:txBody>
      </p:sp>
      <p:sp>
        <p:nvSpPr>
          <p:cNvPr id="21" name="Shape 26">
            <a:extLst>
              <a:ext uri="{FF2B5EF4-FFF2-40B4-BE49-F238E27FC236}">
                <a16:creationId xmlns:a16="http://schemas.microsoft.com/office/drawing/2014/main" id="{4BC0737B-91F5-EFAD-F454-052682871528}"/>
              </a:ext>
            </a:extLst>
          </p:cNvPr>
          <p:cNvSpPr/>
          <p:nvPr/>
        </p:nvSpPr>
        <p:spPr>
          <a:xfrm>
            <a:off x="9724644" y="2009394"/>
            <a:ext cx="237744" cy="237744"/>
          </a:xfrm>
          <a:prstGeom prst="ellipse">
            <a:avLst/>
          </a:prstGeom>
          <a:solidFill>
            <a:srgbClr val="EC0016"/>
          </a:solidFill>
          <a:ln w="25400">
            <a:solidFill>
              <a:srgbClr val="FFFFFF"/>
            </a:solidFill>
            <a:prstDash val="solid"/>
          </a:ln>
        </p:spPr>
        <p:txBody>
          <a:bodyPr/>
          <a:lstStyle/>
          <a:p>
            <a:endParaRPr lang="de-DE"/>
          </a:p>
        </p:txBody>
      </p:sp>
      <p:sp>
        <p:nvSpPr>
          <p:cNvPr id="22" name="Shape 27">
            <a:extLst>
              <a:ext uri="{FF2B5EF4-FFF2-40B4-BE49-F238E27FC236}">
                <a16:creationId xmlns:a16="http://schemas.microsoft.com/office/drawing/2014/main" id="{6F1B190A-F810-8CAE-1AE2-5BA4129E0253}"/>
              </a:ext>
            </a:extLst>
          </p:cNvPr>
          <p:cNvSpPr/>
          <p:nvPr/>
        </p:nvSpPr>
        <p:spPr>
          <a:xfrm>
            <a:off x="9066276" y="1538478"/>
            <a:ext cx="1554480" cy="329184"/>
          </a:xfrm>
          <a:prstGeom prst="rect">
            <a:avLst/>
          </a:prstGeom>
          <a:solidFill>
            <a:srgbClr val="EC0016"/>
          </a:solidFill>
          <a:ln w="12700">
            <a:solidFill>
              <a:srgbClr val="EC0016"/>
            </a:solidFill>
            <a:prstDash val="solid"/>
          </a:ln>
        </p:spPr>
        <p:txBody>
          <a:bodyPr/>
          <a:lstStyle/>
          <a:p>
            <a:endParaRPr lang="de-DE"/>
          </a:p>
        </p:txBody>
      </p:sp>
      <p:sp>
        <p:nvSpPr>
          <p:cNvPr id="23" name="Text 28">
            <a:extLst>
              <a:ext uri="{FF2B5EF4-FFF2-40B4-BE49-F238E27FC236}">
                <a16:creationId xmlns:a16="http://schemas.microsoft.com/office/drawing/2014/main" id="{33D97EE0-8CE8-46B7-E90C-E06665DEACF1}"/>
              </a:ext>
            </a:extLst>
          </p:cNvPr>
          <p:cNvSpPr/>
          <p:nvPr/>
        </p:nvSpPr>
        <p:spPr>
          <a:xfrm>
            <a:off x="9066276" y="1538478"/>
            <a:ext cx="1554480" cy="32918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1100" b="1">
                <a:solidFill>
                  <a:srgbClr val="FFFFFF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01.07.2026</a:t>
            </a:r>
            <a:endParaRPr lang="en-US" sz="1100"/>
          </a:p>
        </p:txBody>
      </p:sp>
      <p:sp>
        <p:nvSpPr>
          <p:cNvPr id="24" name="Shape 29">
            <a:extLst>
              <a:ext uri="{FF2B5EF4-FFF2-40B4-BE49-F238E27FC236}">
                <a16:creationId xmlns:a16="http://schemas.microsoft.com/office/drawing/2014/main" id="{314446F0-8EF4-41EA-3276-F76F02A91BC9}"/>
              </a:ext>
            </a:extLst>
          </p:cNvPr>
          <p:cNvSpPr/>
          <p:nvPr/>
        </p:nvSpPr>
        <p:spPr>
          <a:xfrm>
            <a:off x="8037576" y="2288286"/>
            <a:ext cx="3611880" cy="804672"/>
          </a:xfrm>
          <a:prstGeom prst="rect">
            <a:avLst/>
          </a:prstGeom>
          <a:solidFill>
            <a:srgbClr val="F0F3F5"/>
          </a:solidFill>
          <a:ln w="12700">
            <a:solidFill>
              <a:srgbClr val="F0F3F5"/>
            </a:solidFill>
            <a:prstDash val="solid"/>
          </a:ln>
        </p:spPr>
        <p:txBody>
          <a:bodyPr/>
          <a:lstStyle/>
          <a:p>
            <a:endParaRPr lang="de-DE"/>
          </a:p>
        </p:txBody>
      </p:sp>
      <p:sp>
        <p:nvSpPr>
          <p:cNvPr id="25" name="Shape 30">
            <a:extLst>
              <a:ext uri="{FF2B5EF4-FFF2-40B4-BE49-F238E27FC236}">
                <a16:creationId xmlns:a16="http://schemas.microsoft.com/office/drawing/2014/main" id="{41FFCB46-AA5C-DACD-1171-E9BF64E4F58F}"/>
              </a:ext>
            </a:extLst>
          </p:cNvPr>
          <p:cNvSpPr/>
          <p:nvPr/>
        </p:nvSpPr>
        <p:spPr>
          <a:xfrm>
            <a:off x="8037576" y="2288286"/>
            <a:ext cx="3611880" cy="54864"/>
          </a:xfrm>
          <a:prstGeom prst="rect">
            <a:avLst/>
          </a:prstGeom>
          <a:solidFill>
            <a:srgbClr val="EC0016"/>
          </a:solidFill>
          <a:ln w="12700">
            <a:solidFill>
              <a:srgbClr val="EC0016"/>
            </a:solidFill>
            <a:prstDash val="solid"/>
          </a:ln>
        </p:spPr>
        <p:txBody>
          <a:bodyPr/>
          <a:lstStyle/>
          <a:p>
            <a:endParaRPr lang="de-DE"/>
          </a:p>
        </p:txBody>
      </p:sp>
      <p:sp>
        <p:nvSpPr>
          <p:cNvPr id="26" name="Shape 31">
            <a:extLst>
              <a:ext uri="{FF2B5EF4-FFF2-40B4-BE49-F238E27FC236}">
                <a16:creationId xmlns:a16="http://schemas.microsoft.com/office/drawing/2014/main" id="{8AFA9912-0AF2-DA31-A82B-EC1CBF3EA49B}"/>
              </a:ext>
            </a:extLst>
          </p:cNvPr>
          <p:cNvSpPr/>
          <p:nvPr/>
        </p:nvSpPr>
        <p:spPr>
          <a:xfrm>
            <a:off x="8202168" y="2471166"/>
            <a:ext cx="502920" cy="502920"/>
          </a:xfrm>
          <a:prstGeom prst="ellipse">
            <a:avLst/>
          </a:prstGeom>
          <a:solidFill>
            <a:srgbClr val="FFFFFF"/>
          </a:solidFill>
          <a:ln w="19050">
            <a:solidFill>
              <a:srgbClr val="EC0016"/>
            </a:solidFill>
            <a:prstDash val="solid"/>
          </a:ln>
        </p:spPr>
        <p:txBody>
          <a:bodyPr/>
          <a:lstStyle/>
          <a:p>
            <a:endParaRPr lang="de-DE"/>
          </a:p>
        </p:txBody>
      </p:sp>
      <p:pic>
        <p:nvPicPr>
          <p:cNvPr id="27" name="Image 2" descr="preencoded.png">
            <a:extLst>
              <a:ext uri="{FF2B5EF4-FFF2-40B4-BE49-F238E27FC236}">
                <a16:creationId xmlns:a16="http://schemas.microsoft.com/office/drawing/2014/main" id="{69868C47-A0BA-6A7E-A08D-3117F48D6CE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321040" y="2590038"/>
            <a:ext cx="274320" cy="274320"/>
          </a:xfrm>
          <a:prstGeom prst="rect">
            <a:avLst/>
          </a:prstGeom>
        </p:spPr>
      </p:pic>
      <p:sp>
        <p:nvSpPr>
          <p:cNvPr id="28" name="Text 32">
            <a:extLst>
              <a:ext uri="{FF2B5EF4-FFF2-40B4-BE49-F238E27FC236}">
                <a16:creationId xmlns:a16="http://schemas.microsoft.com/office/drawing/2014/main" id="{5EC6E01E-24BE-A018-AFFB-EC4FA3D8E156}"/>
              </a:ext>
            </a:extLst>
          </p:cNvPr>
          <p:cNvSpPr/>
          <p:nvPr/>
        </p:nvSpPr>
        <p:spPr>
          <a:xfrm>
            <a:off x="8823960" y="2553462"/>
            <a:ext cx="2697480" cy="29260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1400" b="1">
                <a:solidFill>
                  <a:srgbClr val="131821"/>
                </a:solidFill>
                <a:latin typeface="Arial" pitchFamily="34" charset="0"/>
                <a:cs typeface="Arial" pitchFamily="34" charset="-120"/>
              </a:rPr>
              <a:t>Stipulated begin</a:t>
            </a:r>
            <a:endParaRPr lang="en-US" sz="1400"/>
          </a:p>
        </p:txBody>
      </p:sp>
      <p:sp>
        <p:nvSpPr>
          <p:cNvPr id="29" name="Shape 2">
            <a:extLst>
              <a:ext uri="{FF2B5EF4-FFF2-40B4-BE49-F238E27FC236}">
                <a16:creationId xmlns:a16="http://schemas.microsoft.com/office/drawing/2014/main" id="{D8173EE6-8911-0761-BCAB-4C035A3105C4}"/>
              </a:ext>
            </a:extLst>
          </p:cNvPr>
          <p:cNvSpPr/>
          <p:nvPr/>
        </p:nvSpPr>
        <p:spPr>
          <a:xfrm>
            <a:off x="402336" y="3580908"/>
            <a:ext cx="11281949" cy="2239789"/>
          </a:xfrm>
          <a:prstGeom prst="rect">
            <a:avLst/>
          </a:prstGeom>
          <a:solidFill>
            <a:srgbClr val="FFFFFF"/>
          </a:solidFill>
          <a:ln w="12700">
            <a:solidFill>
              <a:srgbClr val="E4E4E4"/>
            </a:solidFill>
            <a:prstDash val="solid"/>
          </a:ln>
          <a:effectLst>
            <a:outerShdw blurRad="101600" dist="38100" dir="8100000" algn="bl" rotWithShape="0">
              <a:srgbClr val="000000">
                <a:alpha val="14000"/>
              </a:srgbClr>
            </a:outerShdw>
          </a:effectLst>
        </p:spPr>
        <p:txBody>
          <a:bodyPr/>
          <a:lstStyle/>
          <a:p>
            <a:endParaRPr lang="de-DE" sz="2400" noProof="0"/>
          </a:p>
        </p:txBody>
      </p:sp>
      <p:sp>
        <p:nvSpPr>
          <p:cNvPr id="30" name="Text 5">
            <a:extLst>
              <a:ext uri="{FF2B5EF4-FFF2-40B4-BE49-F238E27FC236}">
                <a16:creationId xmlns:a16="http://schemas.microsoft.com/office/drawing/2014/main" id="{1E4875BC-DABF-B14C-841B-1DB82E459B5F}"/>
              </a:ext>
            </a:extLst>
          </p:cNvPr>
          <p:cNvSpPr/>
          <p:nvPr/>
        </p:nvSpPr>
        <p:spPr>
          <a:xfrm>
            <a:off x="566928" y="3625519"/>
            <a:ext cx="10601142" cy="2380836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endParaRPr lang="de-DE" sz="900" noProof="0">
              <a:solidFill>
                <a:srgbClr val="1C1C1B"/>
              </a:solidFill>
              <a:latin typeface="Arial" pitchFamily="34" charset="0"/>
              <a:ea typeface="Arial" pitchFamily="34" charset="-122"/>
              <a:cs typeface="Arial" pitchFamily="34" charset="-12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noProof="0">
                <a:solidFill>
                  <a:srgbClr val="646363"/>
                </a:solidFill>
                <a:cs typeface="Arial" pitchFamily="34" charset="-120"/>
              </a:rPr>
              <a:t>The mandated framework by the </a:t>
            </a:r>
            <a:r>
              <a:rPr lang="en-US" sz="1600" noProof="0" err="1">
                <a:solidFill>
                  <a:srgbClr val="646363"/>
                </a:solidFill>
                <a:cs typeface="Arial" pitchFamily="34" charset="-120"/>
              </a:rPr>
              <a:t>Bundesnetzagentur</a:t>
            </a:r>
            <a:r>
              <a:rPr lang="en-US" sz="1600" noProof="0">
                <a:solidFill>
                  <a:srgbClr val="646363"/>
                </a:solidFill>
                <a:cs typeface="Arial" pitchFamily="34" charset="-120"/>
              </a:rPr>
              <a:t> completely changes all proceedings in the German traction energy grid starting 1st July 2026. Core responsibility is shifted towards the Vehicle Keeper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noProof="0">
              <a:solidFill>
                <a:srgbClr val="646363"/>
              </a:solidFill>
              <a:cs typeface="Arial" pitchFamily="34" charset="-12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noProof="0">
                <a:solidFill>
                  <a:srgbClr val="646363"/>
                </a:solidFill>
                <a:cs typeface="Arial" pitchFamily="34" charset="-120"/>
              </a:rPr>
              <a:t>Data exchange is much more rapid. Goal: determine the energy consumption as quickly as possible after Delivery Day. All parties involved need to cooperate most closely, using </a:t>
            </a:r>
            <a:r>
              <a:rPr lang="en-US" sz="1600" noProof="0" err="1">
                <a:solidFill>
                  <a:srgbClr val="646363"/>
                </a:solidFill>
                <a:cs typeface="Arial" pitchFamily="34" charset="-120"/>
              </a:rPr>
              <a:t>realiable</a:t>
            </a:r>
            <a:r>
              <a:rPr lang="en-US" sz="1600" noProof="0">
                <a:solidFill>
                  <a:srgbClr val="646363"/>
                </a:solidFill>
                <a:cs typeface="Arial" pitchFamily="34" charset="-120"/>
              </a:rPr>
              <a:t> und state-of-the-art IT-systems.</a:t>
            </a:r>
            <a:endParaRPr lang="de-DE" sz="1600" noProof="0">
              <a:solidFill>
                <a:srgbClr val="646363"/>
              </a:solidFill>
              <a:cs typeface="Arial" pitchFamily="34" charset="-120"/>
            </a:endParaRP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11D61F9D-1716-F176-9721-F2869E1F26A5}"/>
              </a:ext>
            </a:extLst>
          </p:cNvPr>
          <p:cNvSpPr txBox="1"/>
          <p:nvPr/>
        </p:nvSpPr>
        <p:spPr>
          <a:xfrm>
            <a:off x="13749" y="8361"/>
            <a:ext cx="2351315" cy="227994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>
            <a:spAutoFit/>
          </a:bodyPr>
          <a:lstStyle/>
          <a:p>
            <a:pPr marL="180000" indent="-180000" algn="l">
              <a:buClr>
                <a:schemeClr val="accent2"/>
              </a:buClr>
              <a:buFont typeface="+mn-lt"/>
              <a:buChar char="•"/>
            </a:pPr>
            <a:endParaRPr lang="de-DE" sz="1600"/>
          </a:p>
        </p:txBody>
      </p:sp>
    </p:spTree>
    <p:extLst>
      <p:ext uri="{BB962C8B-B14F-4D97-AF65-F5344CB8AC3E}">
        <p14:creationId xmlns:p14="http://schemas.microsoft.com/office/powerpoint/2010/main" val="3136072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865092B-D05B-AE8C-2EC7-3D2FC3180C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C10CDCD-4A48-17FA-65FE-A73A9D3BFD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ceedings and data flow</a:t>
            </a:r>
            <a:br>
              <a:rPr lang="en-US" dirty="0"/>
            </a:br>
            <a:r>
              <a:rPr lang="en-US" dirty="0"/>
              <a:t>regulated towards DB Energie, freely arranged among market parties</a:t>
            </a:r>
            <a:br>
              <a:rPr lang="en-US" dirty="0"/>
            </a:b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D5E12A-6E9F-399F-E652-91B8B5C358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03.06.2026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0797792-E01F-333D-50EF-43F65C3032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D9F7D-0C28-4C21-AA99-7C67E34F632A}" type="slidenum">
              <a:rPr lang="de-DE" smtClean="0"/>
              <a:t>3</a:t>
            </a:fld>
            <a:endParaRPr lang="de-DE"/>
          </a:p>
        </p:txBody>
      </p:sp>
      <p:sp>
        <p:nvSpPr>
          <p:cNvPr id="8" name="Shape 20">
            <a:extLst>
              <a:ext uri="{FF2B5EF4-FFF2-40B4-BE49-F238E27FC236}">
                <a16:creationId xmlns:a16="http://schemas.microsoft.com/office/drawing/2014/main" id="{15A2B0D1-0883-20E4-E158-2E933DDAC202}"/>
              </a:ext>
            </a:extLst>
          </p:cNvPr>
          <p:cNvSpPr/>
          <p:nvPr/>
        </p:nvSpPr>
        <p:spPr>
          <a:xfrm>
            <a:off x="730197" y="1327060"/>
            <a:ext cx="5006340" cy="4137022"/>
          </a:xfrm>
          <a:prstGeom prst="rect">
            <a:avLst/>
          </a:prstGeom>
          <a:solidFill>
            <a:srgbClr val="F0F3F5"/>
          </a:solidFill>
          <a:ln w="12700">
            <a:solidFill>
              <a:srgbClr val="F0F3F5"/>
            </a:solidFill>
            <a:prstDash val="solid"/>
          </a:ln>
        </p:spPr>
        <p:txBody>
          <a:bodyPr/>
          <a:lstStyle/>
          <a:p>
            <a:endParaRPr lang="de-DE"/>
          </a:p>
        </p:txBody>
      </p:sp>
      <p:sp>
        <p:nvSpPr>
          <p:cNvPr id="25" name="Shape 28">
            <a:extLst>
              <a:ext uri="{FF2B5EF4-FFF2-40B4-BE49-F238E27FC236}">
                <a16:creationId xmlns:a16="http://schemas.microsoft.com/office/drawing/2014/main" id="{E3155FD6-21F0-0D29-C13C-A77FBE7CBD7D}"/>
              </a:ext>
            </a:extLst>
          </p:cNvPr>
          <p:cNvSpPr/>
          <p:nvPr/>
        </p:nvSpPr>
        <p:spPr>
          <a:xfrm>
            <a:off x="736600" y="1327060"/>
            <a:ext cx="4998720" cy="411480"/>
          </a:xfrm>
          <a:prstGeom prst="rect">
            <a:avLst/>
          </a:prstGeom>
          <a:solidFill>
            <a:srgbClr val="EC0016"/>
          </a:solidFill>
          <a:ln w="12700">
            <a:solidFill>
              <a:srgbClr val="EC0016"/>
            </a:solidFill>
            <a:prstDash val="solid"/>
          </a:ln>
        </p:spPr>
        <p:txBody>
          <a:bodyPr/>
          <a:lstStyle/>
          <a:p>
            <a:endParaRPr lang="de-DE"/>
          </a:p>
        </p:txBody>
      </p:sp>
      <p:pic>
        <p:nvPicPr>
          <p:cNvPr id="26" name="Image 4" descr="preencoded.png">
            <a:extLst>
              <a:ext uri="{FF2B5EF4-FFF2-40B4-BE49-F238E27FC236}">
                <a16:creationId xmlns:a16="http://schemas.microsoft.com/office/drawing/2014/main" id="{327C0B99-3B03-9270-D08D-C2E5B3B2EC6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85952" y="1400212"/>
            <a:ext cx="256032" cy="256032"/>
          </a:xfrm>
          <a:prstGeom prst="rect">
            <a:avLst/>
          </a:prstGeom>
        </p:spPr>
      </p:pic>
      <p:sp>
        <p:nvSpPr>
          <p:cNvPr id="27" name="Text 29">
            <a:extLst>
              <a:ext uri="{FF2B5EF4-FFF2-40B4-BE49-F238E27FC236}">
                <a16:creationId xmlns:a16="http://schemas.microsoft.com/office/drawing/2014/main" id="{E59288E6-3D7B-A02F-A482-901C38C2DA1A}"/>
              </a:ext>
            </a:extLst>
          </p:cNvPr>
          <p:cNvSpPr/>
          <p:nvPr/>
        </p:nvSpPr>
        <p:spPr>
          <a:xfrm>
            <a:off x="755650" y="1327060"/>
            <a:ext cx="4991100" cy="4114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1100" b="1">
                <a:solidFill>
                  <a:srgbClr val="FFFFFF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REGULATED</a:t>
            </a:r>
            <a:endParaRPr lang="en-US" sz="1100"/>
          </a:p>
        </p:txBody>
      </p:sp>
      <p:sp>
        <p:nvSpPr>
          <p:cNvPr id="29" name="Shape 20">
            <a:extLst>
              <a:ext uri="{FF2B5EF4-FFF2-40B4-BE49-F238E27FC236}">
                <a16:creationId xmlns:a16="http://schemas.microsoft.com/office/drawing/2014/main" id="{B1724C40-C4A1-A1A5-F697-3B9F4B0351C0}"/>
              </a:ext>
            </a:extLst>
          </p:cNvPr>
          <p:cNvSpPr/>
          <p:nvPr/>
        </p:nvSpPr>
        <p:spPr>
          <a:xfrm>
            <a:off x="6430010" y="1360489"/>
            <a:ext cx="5006340" cy="4137022"/>
          </a:xfrm>
          <a:prstGeom prst="rect">
            <a:avLst/>
          </a:prstGeom>
          <a:solidFill>
            <a:srgbClr val="F0F3F5"/>
          </a:solidFill>
          <a:ln w="12700">
            <a:solidFill>
              <a:srgbClr val="F0F3F5"/>
            </a:solidFill>
            <a:prstDash val="solid"/>
          </a:ln>
        </p:spPr>
        <p:txBody>
          <a:bodyPr/>
          <a:lstStyle/>
          <a:p>
            <a:endParaRPr lang="de-DE"/>
          </a:p>
        </p:txBody>
      </p:sp>
      <p:sp>
        <p:nvSpPr>
          <p:cNvPr id="35" name="Shape 15">
            <a:extLst>
              <a:ext uri="{FF2B5EF4-FFF2-40B4-BE49-F238E27FC236}">
                <a16:creationId xmlns:a16="http://schemas.microsoft.com/office/drawing/2014/main" id="{A75DDD9F-CB15-72BD-1EDC-A379DBCBDB14}"/>
              </a:ext>
            </a:extLst>
          </p:cNvPr>
          <p:cNvSpPr/>
          <p:nvPr/>
        </p:nvSpPr>
        <p:spPr>
          <a:xfrm>
            <a:off x="6437632" y="1360489"/>
            <a:ext cx="5024171" cy="411480"/>
          </a:xfrm>
          <a:prstGeom prst="rect">
            <a:avLst/>
          </a:prstGeom>
          <a:solidFill>
            <a:srgbClr val="131821"/>
          </a:solidFill>
          <a:ln w="12700">
            <a:solidFill>
              <a:srgbClr val="131821"/>
            </a:solidFill>
            <a:prstDash val="solid"/>
          </a:ln>
        </p:spPr>
        <p:txBody>
          <a:bodyPr/>
          <a:lstStyle/>
          <a:p>
            <a:endParaRPr lang="de-DE"/>
          </a:p>
        </p:txBody>
      </p:sp>
      <p:pic>
        <p:nvPicPr>
          <p:cNvPr id="36" name="Image 1" descr="preencoded.png">
            <a:extLst>
              <a:ext uri="{FF2B5EF4-FFF2-40B4-BE49-F238E27FC236}">
                <a16:creationId xmlns:a16="http://schemas.microsoft.com/office/drawing/2014/main" id="{284A16D5-9513-6B57-A8CB-3348295D38F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602225" y="1433641"/>
            <a:ext cx="284196" cy="256032"/>
          </a:xfrm>
          <a:prstGeom prst="rect">
            <a:avLst/>
          </a:prstGeom>
        </p:spPr>
      </p:pic>
      <p:sp>
        <p:nvSpPr>
          <p:cNvPr id="37" name="Text 16">
            <a:extLst>
              <a:ext uri="{FF2B5EF4-FFF2-40B4-BE49-F238E27FC236}">
                <a16:creationId xmlns:a16="http://schemas.microsoft.com/office/drawing/2014/main" id="{18B46E48-4825-12E7-521A-27A1014032DE}"/>
              </a:ext>
            </a:extLst>
          </p:cNvPr>
          <p:cNvSpPr/>
          <p:nvPr/>
        </p:nvSpPr>
        <p:spPr>
          <a:xfrm>
            <a:off x="6437633" y="1360489"/>
            <a:ext cx="5074920" cy="4114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1100" b="1">
                <a:solidFill>
                  <a:srgbClr val="FFFFFF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FREELY ARRANGED</a:t>
            </a:r>
            <a:endParaRPr lang="en-US" sz="1100"/>
          </a:p>
        </p:txBody>
      </p:sp>
      <p:sp>
        <p:nvSpPr>
          <p:cNvPr id="40" name="Shape 31">
            <a:extLst>
              <a:ext uri="{FF2B5EF4-FFF2-40B4-BE49-F238E27FC236}">
                <a16:creationId xmlns:a16="http://schemas.microsoft.com/office/drawing/2014/main" id="{2ABF742C-3D75-83AF-AAEB-733A0EDFD3F9}"/>
              </a:ext>
            </a:extLst>
          </p:cNvPr>
          <p:cNvSpPr/>
          <p:nvPr/>
        </p:nvSpPr>
        <p:spPr>
          <a:xfrm>
            <a:off x="837818" y="2918714"/>
            <a:ext cx="1051560" cy="1051560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tx2"/>
            </a:solidFill>
            <a:prstDash val="solid"/>
          </a:ln>
        </p:spPr>
        <p:txBody>
          <a:bodyPr/>
          <a:lstStyle/>
          <a:p>
            <a:endParaRPr lang="de-DE" sz="1400"/>
          </a:p>
        </p:txBody>
      </p:sp>
      <p:pic>
        <p:nvPicPr>
          <p:cNvPr id="41" name="Image 6" descr="preencoded.png">
            <a:extLst>
              <a:ext uri="{FF2B5EF4-FFF2-40B4-BE49-F238E27FC236}">
                <a16:creationId xmlns:a16="http://schemas.microsoft.com/office/drawing/2014/main" id="{1E92CF6A-E344-CC4F-C7F3-A2AE7BEE834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52702" y="3129026"/>
            <a:ext cx="621792" cy="621792"/>
          </a:xfrm>
          <a:prstGeom prst="rect">
            <a:avLst/>
          </a:prstGeom>
        </p:spPr>
      </p:pic>
      <p:sp>
        <p:nvSpPr>
          <p:cNvPr id="42" name="Text 32">
            <a:extLst>
              <a:ext uri="{FF2B5EF4-FFF2-40B4-BE49-F238E27FC236}">
                <a16:creationId xmlns:a16="http://schemas.microsoft.com/office/drawing/2014/main" id="{986DE72F-F69D-8536-F7A8-4DCA93597A4D}"/>
              </a:ext>
            </a:extLst>
          </p:cNvPr>
          <p:cNvSpPr/>
          <p:nvPr/>
        </p:nvSpPr>
        <p:spPr>
          <a:xfrm>
            <a:off x="371474" y="4119430"/>
            <a:ext cx="2057400" cy="32918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1400" b="1">
                <a:solidFill>
                  <a:srgbClr val="131821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BNB</a:t>
            </a:r>
            <a:br>
              <a:rPr lang="en-US" sz="1400" b="1">
                <a:solidFill>
                  <a:srgbClr val="131821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</a:br>
            <a:r>
              <a:rPr lang="en-US" sz="1400" b="1">
                <a:solidFill>
                  <a:srgbClr val="131821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DB Energie</a:t>
            </a:r>
            <a:endParaRPr lang="en-US" sz="1400"/>
          </a:p>
        </p:txBody>
      </p:sp>
      <p:sp>
        <p:nvSpPr>
          <p:cNvPr id="45" name="Text 32">
            <a:extLst>
              <a:ext uri="{FF2B5EF4-FFF2-40B4-BE49-F238E27FC236}">
                <a16:creationId xmlns:a16="http://schemas.microsoft.com/office/drawing/2014/main" id="{B4C90076-1328-0687-0DB7-60C852E3FE57}"/>
              </a:ext>
            </a:extLst>
          </p:cNvPr>
          <p:cNvSpPr/>
          <p:nvPr/>
        </p:nvSpPr>
        <p:spPr>
          <a:xfrm>
            <a:off x="3904234" y="3066502"/>
            <a:ext cx="2057400" cy="32918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1400" b="1">
                <a:solidFill>
                  <a:srgbClr val="131821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ANe-tEns</a:t>
            </a:r>
          </a:p>
          <a:p>
            <a:pPr marL="0" indent="0" algn="ctr">
              <a:buNone/>
            </a:pPr>
            <a:r>
              <a:rPr lang="en-US" sz="1400" b="1">
                <a:solidFill>
                  <a:srgbClr val="131821"/>
                </a:solidFill>
                <a:latin typeface="Arial" pitchFamily="34" charset="0"/>
                <a:cs typeface="Arial" pitchFamily="34" charset="-120"/>
              </a:rPr>
              <a:t>(vehicle keeper)</a:t>
            </a:r>
            <a:endParaRPr lang="en-US" sz="1400"/>
          </a:p>
        </p:txBody>
      </p:sp>
      <p:sp>
        <p:nvSpPr>
          <p:cNvPr id="46" name="Text 32">
            <a:extLst>
              <a:ext uri="{FF2B5EF4-FFF2-40B4-BE49-F238E27FC236}">
                <a16:creationId xmlns:a16="http://schemas.microsoft.com/office/drawing/2014/main" id="{014BBD8C-1DB0-BD71-C68D-66D67C9788DE}"/>
              </a:ext>
            </a:extLst>
          </p:cNvPr>
          <p:cNvSpPr/>
          <p:nvPr/>
        </p:nvSpPr>
        <p:spPr>
          <a:xfrm>
            <a:off x="3883431" y="5072073"/>
            <a:ext cx="2057400" cy="32918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1400" b="1">
                <a:solidFill>
                  <a:srgbClr val="131821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ANu-vEns</a:t>
            </a:r>
          </a:p>
          <a:p>
            <a:pPr marL="0" indent="0" algn="ctr">
              <a:buNone/>
            </a:pPr>
            <a:r>
              <a:rPr lang="en-US" sz="1400" b="1">
                <a:solidFill>
                  <a:srgbClr val="131821"/>
                </a:solidFill>
                <a:latin typeface="Arial" pitchFamily="34" charset="0"/>
                <a:cs typeface="Arial" pitchFamily="34" charset="-120"/>
              </a:rPr>
              <a:t>(vehicle user)</a:t>
            </a:r>
            <a:endParaRPr lang="en-US" sz="1400"/>
          </a:p>
        </p:txBody>
      </p:sp>
      <p:pic>
        <p:nvPicPr>
          <p:cNvPr id="56" name="Image 2" descr="preencoded.png">
            <a:extLst>
              <a:ext uri="{FF2B5EF4-FFF2-40B4-BE49-F238E27FC236}">
                <a16:creationId xmlns:a16="http://schemas.microsoft.com/office/drawing/2014/main" id="{56D81DA4-E929-1697-9388-74EEE780264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866515" y="2052295"/>
            <a:ext cx="420624" cy="420624"/>
          </a:xfrm>
          <a:prstGeom prst="rect">
            <a:avLst/>
          </a:prstGeom>
        </p:spPr>
      </p:pic>
      <p:sp>
        <p:nvSpPr>
          <p:cNvPr id="57" name="Text 21">
            <a:extLst>
              <a:ext uri="{FF2B5EF4-FFF2-40B4-BE49-F238E27FC236}">
                <a16:creationId xmlns:a16="http://schemas.microsoft.com/office/drawing/2014/main" id="{8D9BB439-D655-1BDC-E5F5-0E1CA4F3C07B}"/>
              </a:ext>
            </a:extLst>
          </p:cNvPr>
          <p:cNvSpPr/>
          <p:nvPr/>
        </p:nvSpPr>
        <p:spPr>
          <a:xfrm>
            <a:off x="2340673" y="2530671"/>
            <a:ext cx="1417320" cy="244769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/>
            <a:r>
              <a:rPr lang="en-US" sz="1100" i="1">
                <a:latin typeface="Arial" pitchFamily="34" charset="0"/>
                <a:ea typeface="Arial" pitchFamily="34" charset="-122"/>
                <a:cs typeface="Arial" pitchFamily="34" charset="-120"/>
              </a:rPr>
              <a:t>mandated </a:t>
            </a:r>
            <a:br>
              <a:rPr lang="en-US" sz="1100" i="1">
                <a:latin typeface="Arial" pitchFamily="34" charset="0"/>
                <a:ea typeface="Arial" pitchFamily="34" charset="-122"/>
                <a:cs typeface="Arial" pitchFamily="34" charset="-120"/>
              </a:rPr>
            </a:br>
            <a:r>
              <a:rPr lang="en-US" sz="1100" i="1">
                <a:latin typeface="Arial" pitchFamily="34" charset="0"/>
                <a:ea typeface="Arial" pitchFamily="34" charset="-122"/>
                <a:cs typeface="Arial" pitchFamily="34" charset="-120"/>
              </a:rPr>
              <a:t>data flow</a:t>
            </a:r>
            <a:endParaRPr lang="en-US" sz="1100"/>
          </a:p>
        </p:txBody>
      </p:sp>
      <p:pic>
        <p:nvPicPr>
          <p:cNvPr id="61" name="Image 2" descr="preencoded.png">
            <a:extLst>
              <a:ext uri="{FF2B5EF4-FFF2-40B4-BE49-F238E27FC236}">
                <a16:creationId xmlns:a16="http://schemas.microsoft.com/office/drawing/2014/main" id="{76CA8147-1D39-CDD0-187C-24FB772161A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797810" y="4302662"/>
            <a:ext cx="420624" cy="420624"/>
          </a:xfrm>
          <a:prstGeom prst="rect">
            <a:avLst/>
          </a:prstGeom>
        </p:spPr>
      </p:pic>
      <p:sp>
        <p:nvSpPr>
          <p:cNvPr id="66" name="Shape 20">
            <a:extLst>
              <a:ext uri="{FF2B5EF4-FFF2-40B4-BE49-F238E27FC236}">
                <a16:creationId xmlns:a16="http://schemas.microsoft.com/office/drawing/2014/main" id="{AF6012FB-B32B-2C68-EB35-1B64B362A352}"/>
              </a:ext>
            </a:extLst>
          </p:cNvPr>
          <p:cNvSpPr/>
          <p:nvPr/>
        </p:nvSpPr>
        <p:spPr>
          <a:xfrm>
            <a:off x="2977513" y="2971112"/>
            <a:ext cx="826974" cy="797051"/>
          </a:xfrm>
          <a:prstGeom prst="ellipse">
            <a:avLst/>
          </a:prstGeom>
          <a:solidFill>
            <a:schemeClr val="bg1">
              <a:lumMod val="50000"/>
            </a:schemeClr>
          </a:solidFill>
          <a:ln w="12700">
            <a:solidFill>
              <a:schemeClr val="bg1"/>
            </a:solidFill>
            <a:prstDash val="solid"/>
          </a:ln>
        </p:spPr>
        <p:txBody>
          <a:bodyPr/>
          <a:lstStyle/>
          <a:p>
            <a:endParaRPr lang="de-DE" sz="1400"/>
          </a:p>
        </p:txBody>
      </p:sp>
      <p:pic>
        <p:nvPicPr>
          <p:cNvPr id="67" name="Image 3" descr="preencoded.png">
            <a:extLst>
              <a:ext uri="{FF2B5EF4-FFF2-40B4-BE49-F238E27FC236}">
                <a16:creationId xmlns:a16="http://schemas.microsoft.com/office/drawing/2014/main" id="{0995CBC9-41E9-3E84-2847-24D285969B6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068116" y="3043582"/>
            <a:ext cx="640080" cy="640080"/>
          </a:xfrm>
          <a:prstGeom prst="rect">
            <a:avLst/>
          </a:prstGeom>
        </p:spPr>
      </p:pic>
      <p:sp>
        <p:nvSpPr>
          <p:cNvPr id="68" name="Text 32">
            <a:extLst>
              <a:ext uri="{FF2B5EF4-FFF2-40B4-BE49-F238E27FC236}">
                <a16:creationId xmlns:a16="http://schemas.microsoft.com/office/drawing/2014/main" id="{F92839E2-298C-AF8B-6195-9E6032D80282}"/>
              </a:ext>
            </a:extLst>
          </p:cNvPr>
          <p:cNvSpPr/>
          <p:nvPr/>
        </p:nvSpPr>
        <p:spPr>
          <a:xfrm>
            <a:off x="2822397" y="3758057"/>
            <a:ext cx="1126084" cy="32918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1400" b="1">
                <a:solidFill>
                  <a:srgbClr val="131821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Data Service Provider</a:t>
            </a:r>
          </a:p>
        </p:txBody>
      </p:sp>
      <p:sp>
        <p:nvSpPr>
          <p:cNvPr id="70" name="Shape 20">
            <a:extLst>
              <a:ext uri="{FF2B5EF4-FFF2-40B4-BE49-F238E27FC236}">
                <a16:creationId xmlns:a16="http://schemas.microsoft.com/office/drawing/2014/main" id="{777893D0-F87B-C792-4664-09B0EB17F9A7}"/>
              </a:ext>
            </a:extLst>
          </p:cNvPr>
          <p:cNvSpPr/>
          <p:nvPr/>
        </p:nvSpPr>
        <p:spPr>
          <a:xfrm>
            <a:off x="4541491" y="2148715"/>
            <a:ext cx="826974" cy="797051"/>
          </a:xfrm>
          <a:prstGeom prst="ellipse">
            <a:avLst/>
          </a:prstGeom>
          <a:solidFill>
            <a:schemeClr val="accent2"/>
          </a:solidFill>
          <a:ln w="12700">
            <a:solidFill>
              <a:schemeClr val="bg1"/>
            </a:solidFill>
            <a:prstDash val="solid"/>
          </a:ln>
        </p:spPr>
        <p:txBody>
          <a:bodyPr/>
          <a:lstStyle/>
          <a:p>
            <a:endParaRPr lang="de-DE" sz="1400"/>
          </a:p>
        </p:txBody>
      </p:sp>
      <p:pic>
        <p:nvPicPr>
          <p:cNvPr id="71" name="Image 3" descr="preencoded.png">
            <a:extLst>
              <a:ext uri="{FF2B5EF4-FFF2-40B4-BE49-F238E27FC236}">
                <a16:creationId xmlns:a16="http://schemas.microsoft.com/office/drawing/2014/main" id="{1026012B-0C7C-981A-10E4-D06300C2BDA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632094" y="2221185"/>
            <a:ext cx="640080" cy="640080"/>
          </a:xfrm>
          <a:prstGeom prst="rect">
            <a:avLst/>
          </a:prstGeom>
        </p:spPr>
      </p:pic>
      <p:sp>
        <p:nvSpPr>
          <p:cNvPr id="72" name="Shape 20">
            <a:extLst>
              <a:ext uri="{FF2B5EF4-FFF2-40B4-BE49-F238E27FC236}">
                <a16:creationId xmlns:a16="http://schemas.microsoft.com/office/drawing/2014/main" id="{7819E813-7066-5BE3-C970-469CB44FE262}"/>
              </a:ext>
            </a:extLst>
          </p:cNvPr>
          <p:cNvSpPr/>
          <p:nvPr/>
        </p:nvSpPr>
        <p:spPr>
          <a:xfrm>
            <a:off x="4458360" y="4189227"/>
            <a:ext cx="826974" cy="797051"/>
          </a:xfrm>
          <a:prstGeom prst="ellipse">
            <a:avLst/>
          </a:prstGeom>
          <a:solidFill>
            <a:srgbClr val="1C5F9E"/>
          </a:solidFill>
          <a:ln w="12700">
            <a:solidFill>
              <a:schemeClr val="bg1"/>
            </a:solidFill>
            <a:prstDash val="solid"/>
          </a:ln>
        </p:spPr>
        <p:txBody>
          <a:bodyPr/>
          <a:lstStyle/>
          <a:p>
            <a:endParaRPr lang="de-DE" sz="1400"/>
          </a:p>
        </p:txBody>
      </p:sp>
      <p:pic>
        <p:nvPicPr>
          <p:cNvPr id="73" name="Image 3" descr="preencoded.png">
            <a:extLst>
              <a:ext uri="{FF2B5EF4-FFF2-40B4-BE49-F238E27FC236}">
                <a16:creationId xmlns:a16="http://schemas.microsoft.com/office/drawing/2014/main" id="{F6829335-0BCA-1841-DF7B-1858B57F938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548963" y="4261697"/>
            <a:ext cx="640080" cy="640080"/>
          </a:xfrm>
          <a:prstGeom prst="rect">
            <a:avLst/>
          </a:prstGeom>
        </p:spPr>
      </p:pic>
      <p:sp>
        <p:nvSpPr>
          <p:cNvPr id="74" name="Text 32">
            <a:extLst>
              <a:ext uri="{FF2B5EF4-FFF2-40B4-BE49-F238E27FC236}">
                <a16:creationId xmlns:a16="http://schemas.microsoft.com/office/drawing/2014/main" id="{02B29D98-84B4-259E-88E9-6B1C9E317FDA}"/>
              </a:ext>
            </a:extLst>
          </p:cNvPr>
          <p:cNvSpPr/>
          <p:nvPr/>
        </p:nvSpPr>
        <p:spPr>
          <a:xfrm>
            <a:off x="6231404" y="3043582"/>
            <a:ext cx="2057400" cy="32918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1400" b="1">
                <a:solidFill>
                  <a:srgbClr val="131821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ANe-tEns</a:t>
            </a:r>
          </a:p>
          <a:p>
            <a:pPr marL="0" indent="0" algn="ctr">
              <a:buNone/>
            </a:pPr>
            <a:r>
              <a:rPr lang="en-US" sz="1400" b="1">
                <a:solidFill>
                  <a:srgbClr val="131821"/>
                </a:solidFill>
                <a:latin typeface="Arial" pitchFamily="34" charset="0"/>
                <a:cs typeface="Arial" pitchFamily="34" charset="-120"/>
              </a:rPr>
              <a:t>(vehicle keeper)</a:t>
            </a:r>
            <a:endParaRPr lang="en-US" sz="1400"/>
          </a:p>
        </p:txBody>
      </p:sp>
      <p:sp>
        <p:nvSpPr>
          <p:cNvPr id="75" name="Text 32">
            <a:extLst>
              <a:ext uri="{FF2B5EF4-FFF2-40B4-BE49-F238E27FC236}">
                <a16:creationId xmlns:a16="http://schemas.microsoft.com/office/drawing/2014/main" id="{F543E839-81F6-8F73-43E0-7966961BC06E}"/>
              </a:ext>
            </a:extLst>
          </p:cNvPr>
          <p:cNvSpPr/>
          <p:nvPr/>
        </p:nvSpPr>
        <p:spPr>
          <a:xfrm>
            <a:off x="9719577" y="2980782"/>
            <a:ext cx="1741172" cy="32918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1400" b="1">
                <a:solidFill>
                  <a:srgbClr val="131821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ANu-vEns</a:t>
            </a:r>
          </a:p>
          <a:p>
            <a:pPr marL="0" indent="0" algn="ctr">
              <a:buNone/>
            </a:pPr>
            <a:r>
              <a:rPr lang="en-US" sz="1400" b="1">
                <a:solidFill>
                  <a:srgbClr val="131821"/>
                </a:solidFill>
                <a:latin typeface="Arial" pitchFamily="34" charset="0"/>
                <a:cs typeface="Arial" pitchFamily="34" charset="-120"/>
              </a:rPr>
              <a:t>(vehicle user)</a:t>
            </a:r>
            <a:endParaRPr lang="en-US" sz="1400"/>
          </a:p>
        </p:txBody>
      </p:sp>
      <p:sp>
        <p:nvSpPr>
          <p:cNvPr id="76" name="Shape 20">
            <a:extLst>
              <a:ext uri="{FF2B5EF4-FFF2-40B4-BE49-F238E27FC236}">
                <a16:creationId xmlns:a16="http://schemas.microsoft.com/office/drawing/2014/main" id="{C13D162A-33FB-D35A-9B39-9D775CA64C92}"/>
              </a:ext>
            </a:extLst>
          </p:cNvPr>
          <p:cNvSpPr/>
          <p:nvPr/>
        </p:nvSpPr>
        <p:spPr>
          <a:xfrm>
            <a:off x="6868661" y="2125795"/>
            <a:ext cx="826974" cy="797051"/>
          </a:xfrm>
          <a:prstGeom prst="ellipse">
            <a:avLst/>
          </a:prstGeom>
          <a:solidFill>
            <a:schemeClr val="accent2"/>
          </a:solidFill>
          <a:ln w="12700">
            <a:solidFill>
              <a:schemeClr val="bg1"/>
            </a:solidFill>
            <a:prstDash val="solid"/>
          </a:ln>
        </p:spPr>
        <p:txBody>
          <a:bodyPr/>
          <a:lstStyle/>
          <a:p>
            <a:endParaRPr lang="de-DE" sz="1400"/>
          </a:p>
        </p:txBody>
      </p:sp>
      <p:pic>
        <p:nvPicPr>
          <p:cNvPr id="77" name="Image 3" descr="preencoded.png">
            <a:extLst>
              <a:ext uri="{FF2B5EF4-FFF2-40B4-BE49-F238E27FC236}">
                <a16:creationId xmlns:a16="http://schemas.microsoft.com/office/drawing/2014/main" id="{983A0D30-4D9B-763F-0F06-21183149D5E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959264" y="2198265"/>
            <a:ext cx="640080" cy="640080"/>
          </a:xfrm>
          <a:prstGeom prst="rect">
            <a:avLst/>
          </a:prstGeom>
        </p:spPr>
      </p:pic>
      <p:sp>
        <p:nvSpPr>
          <p:cNvPr id="78" name="Shape 20">
            <a:extLst>
              <a:ext uri="{FF2B5EF4-FFF2-40B4-BE49-F238E27FC236}">
                <a16:creationId xmlns:a16="http://schemas.microsoft.com/office/drawing/2014/main" id="{BCF4E82A-897C-412C-C5D7-2C9A2E547007}"/>
              </a:ext>
            </a:extLst>
          </p:cNvPr>
          <p:cNvSpPr/>
          <p:nvPr/>
        </p:nvSpPr>
        <p:spPr>
          <a:xfrm>
            <a:off x="10187939" y="2111261"/>
            <a:ext cx="826974" cy="797051"/>
          </a:xfrm>
          <a:prstGeom prst="ellipse">
            <a:avLst/>
          </a:prstGeom>
          <a:solidFill>
            <a:srgbClr val="1C5F9E"/>
          </a:solidFill>
          <a:ln w="12700">
            <a:solidFill>
              <a:schemeClr val="bg1"/>
            </a:solidFill>
            <a:prstDash val="solid"/>
          </a:ln>
        </p:spPr>
        <p:txBody>
          <a:bodyPr/>
          <a:lstStyle/>
          <a:p>
            <a:endParaRPr lang="de-DE" sz="1400"/>
          </a:p>
        </p:txBody>
      </p:sp>
      <p:pic>
        <p:nvPicPr>
          <p:cNvPr id="79" name="Image 3" descr="preencoded.png">
            <a:extLst>
              <a:ext uri="{FF2B5EF4-FFF2-40B4-BE49-F238E27FC236}">
                <a16:creationId xmlns:a16="http://schemas.microsoft.com/office/drawing/2014/main" id="{117DF388-1DAE-3D62-B012-126DB23DF19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278542" y="2183731"/>
            <a:ext cx="640080" cy="640080"/>
          </a:xfrm>
          <a:prstGeom prst="rect">
            <a:avLst/>
          </a:prstGeom>
        </p:spPr>
      </p:pic>
      <p:sp>
        <p:nvSpPr>
          <p:cNvPr id="80" name="Shape 20">
            <a:extLst>
              <a:ext uri="{FF2B5EF4-FFF2-40B4-BE49-F238E27FC236}">
                <a16:creationId xmlns:a16="http://schemas.microsoft.com/office/drawing/2014/main" id="{27C91BCD-4559-150B-D635-C9B965B3B9EB}"/>
              </a:ext>
            </a:extLst>
          </p:cNvPr>
          <p:cNvSpPr/>
          <p:nvPr/>
        </p:nvSpPr>
        <p:spPr>
          <a:xfrm>
            <a:off x="8595358" y="3470714"/>
            <a:ext cx="826974" cy="797051"/>
          </a:xfrm>
          <a:prstGeom prst="ellipse">
            <a:avLst/>
          </a:prstGeom>
          <a:solidFill>
            <a:schemeClr val="bg1">
              <a:lumMod val="50000"/>
            </a:schemeClr>
          </a:solidFill>
          <a:ln w="12700">
            <a:solidFill>
              <a:schemeClr val="bg1"/>
            </a:solidFill>
            <a:prstDash val="solid"/>
          </a:ln>
        </p:spPr>
        <p:txBody>
          <a:bodyPr/>
          <a:lstStyle/>
          <a:p>
            <a:endParaRPr lang="de-DE" sz="1400"/>
          </a:p>
        </p:txBody>
      </p:sp>
      <p:pic>
        <p:nvPicPr>
          <p:cNvPr id="81" name="Image 3" descr="preencoded.png">
            <a:extLst>
              <a:ext uri="{FF2B5EF4-FFF2-40B4-BE49-F238E27FC236}">
                <a16:creationId xmlns:a16="http://schemas.microsoft.com/office/drawing/2014/main" id="{57298793-9DEF-AFDC-1DD1-CF986C7BA4A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685961" y="3543184"/>
            <a:ext cx="640080" cy="640080"/>
          </a:xfrm>
          <a:prstGeom prst="rect">
            <a:avLst/>
          </a:prstGeom>
        </p:spPr>
      </p:pic>
      <p:sp>
        <p:nvSpPr>
          <p:cNvPr id="82" name="Text 32">
            <a:extLst>
              <a:ext uri="{FF2B5EF4-FFF2-40B4-BE49-F238E27FC236}">
                <a16:creationId xmlns:a16="http://schemas.microsoft.com/office/drawing/2014/main" id="{C054CDD4-0147-BE89-DB5F-2E6817BE7CEB}"/>
              </a:ext>
            </a:extLst>
          </p:cNvPr>
          <p:cNvSpPr/>
          <p:nvPr/>
        </p:nvSpPr>
        <p:spPr>
          <a:xfrm>
            <a:off x="8440242" y="4257659"/>
            <a:ext cx="1126084" cy="32918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1400" b="1">
                <a:solidFill>
                  <a:srgbClr val="131821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Data Service Provider</a:t>
            </a:r>
          </a:p>
        </p:txBody>
      </p:sp>
      <p:cxnSp>
        <p:nvCxnSpPr>
          <p:cNvPr id="85" name="Gerade Verbindung mit Pfeil 84">
            <a:extLst>
              <a:ext uri="{FF2B5EF4-FFF2-40B4-BE49-F238E27FC236}">
                <a16:creationId xmlns:a16="http://schemas.microsoft.com/office/drawing/2014/main" id="{9F528398-14E4-D1D4-ACF6-168472F184B0}"/>
              </a:ext>
            </a:extLst>
          </p:cNvPr>
          <p:cNvCxnSpPr/>
          <p:nvPr/>
        </p:nvCxnSpPr>
        <p:spPr>
          <a:xfrm>
            <a:off x="7931150" y="2583062"/>
            <a:ext cx="2038350" cy="0"/>
          </a:xfrm>
          <a:prstGeom prst="straightConnector1">
            <a:avLst/>
          </a:prstGeom>
          <a:ln w="28575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Gerade Verbindung mit Pfeil 85">
            <a:extLst>
              <a:ext uri="{FF2B5EF4-FFF2-40B4-BE49-F238E27FC236}">
                <a16:creationId xmlns:a16="http://schemas.microsoft.com/office/drawing/2014/main" id="{6A3BC52C-8108-5CC9-6CEB-D992FFB7672A}"/>
              </a:ext>
            </a:extLst>
          </p:cNvPr>
          <p:cNvCxnSpPr>
            <a:cxnSpLocks/>
          </p:cNvCxnSpPr>
          <p:nvPr/>
        </p:nvCxnSpPr>
        <p:spPr>
          <a:xfrm flipV="1">
            <a:off x="1979981" y="2626478"/>
            <a:ext cx="2433674" cy="473465"/>
          </a:xfrm>
          <a:prstGeom prst="straightConnector1">
            <a:avLst/>
          </a:prstGeom>
          <a:ln w="28575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Gerade Verbindung mit Pfeil 89">
            <a:extLst>
              <a:ext uri="{FF2B5EF4-FFF2-40B4-BE49-F238E27FC236}">
                <a16:creationId xmlns:a16="http://schemas.microsoft.com/office/drawing/2014/main" id="{358589E5-6610-FD48-CE12-B7CB7E603FED}"/>
              </a:ext>
            </a:extLst>
          </p:cNvPr>
          <p:cNvCxnSpPr>
            <a:cxnSpLocks/>
          </p:cNvCxnSpPr>
          <p:nvPr/>
        </p:nvCxnSpPr>
        <p:spPr>
          <a:xfrm>
            <a:off x="1842770" y="3851557"/>
            <a:ext cx="2541419" cy="608232"/>
          </a:xfrm>
          <a:prstGeom prst="straightConnector1">
            <a:avLst/>
          </a:prstGeom>
          <a:ln w="28575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3" name="Image 2" descr="preencoded.png">
            <a:extLst>
              <a:ext uri="{FF2B5EF4-FFF2-40B4-BE49-F238E27FC236}">
                <a16:creationId xmlns:a16="http://schemas.microsoft.com/office/drawing/2014/main" id="{2BA4D929-7F49-66FB-0D34-844AC132EE4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727455" y="2655533"/>
            <a:ext cx="420624" cy="420624"/>
          </a:xfrm>
          <a:prstGeom prst="rect">
            <a:avLst/>
          </a:prstGeom>
        </p:spPr>
      </p:pic>
      <p:sp>
        <p:nvSpPr>
          <p:cNvPr id="94" name="Text 21">
            <a:extLst>
              <a:ext uri="{FF2B5EF4-FFF2-40B4-BE49-F238E27FC236}">
                <a16:creationId xmlns:a16="http://schemas.microsoft.com/office/drawing/2014/main" id="{4DB8B8F4-148E-AB10-BC77-B352A33E708C}"/>
              </a:ext>
            </a:extLst>
          </p:cNvPr>
          <p:cNvSpPr/>
          <p:nvPr/>
        </p:nvSpPr>
        <p:spPr>
          <a:xfrm>
            <a:off x="8229060" y="3087803"/>
            <a:ext cx="1417320" cy="244769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/>
            <a:r>
              <a:rPr lang="en-US" sz="1100" i="1">
                <a:latin typeface="Arial" pitchFamily="34" charset="0"/>
                <a:cs typeface="Arial" pitchFamily="34" charset="-120"/>
              </a:rPr>
              <a:t>freely arranged</a:t>
            </a:r>
            <a:endParaRPr lang="en-US" sz="110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D575079A-0E6F-3769-79AA-199672EF5470}"/>
              </a:ext>
            </a:extLst>
          </p:cNvPr>
          <p:cNvSpPr txBox="1"/>
          <p:nvPr/>
        </p:nvSpPr>
        <p:spPr>
          <a:xfrm>
            <a:off x="13749" y="8361"/>
            <a:ext cx="2351315" cy="227994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>
            <a:spAutoFit/>
          </a:bodyPr>
          <a:lstStyle/>
          <a:p>
            <a:pPr marL="180000" indent="-180000" algn="l">
              <a:buClr>
                <a:schemeClr val="accent2"/>
              </a:buClr>
              <a:buFont typeface="+mn-lt"/>
              <a:buChar char="•"/>
            </a:pPr>
            <a:endParaRPr lang="de-DE" sz="1600"/>
          </a:p>
        </p:txBody>
      </p:sp>
      <p:sp>
        <p:nvSpPr>
          <p:cNvPr id="6" name="Text 21">
            <a:extLst>
              <a:ext uri="{FF2B5EF4-FFF2-40B4-BE49-F238E27FC236}">
                <a16:creationId xmlns:a16="http://schemas.microsoft.com/office/drawing/2014/main" id="{68DB7582-F8F6-EBFC-06B9-E8F259E187C3}"/>
              </a:ext>
            </a:extLst>
          </p:cNvPr>
          <p:cNvSpPr/>
          <p:nvPr/>
        </p:nvSpPr>
        <p:spPr>
          <a:xfrm>
            <a:off x="2283497" y="4766072"/>
            <a:ext cx="1417320" cy="244769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/>
            <a:r>
              <a:rPr lang="en-US" sz="1100" i="1">
                <a:latin typeface="Arial" pitchFamily="34" charset="0"/>
                <a:ea typeface="Arial" pitchFamily="34" charset="-122"/>
                <a:cs typeface="Arial" pitchFamily="34" charset="-120"/>
              </a:rPr>
              <a:t>mandated </a:t>
            </a:r>
            <a:br>
              <a:rPr lang="en-US" sz="1100" i="1">
                <a:latin typeface="Arial" pitchFamily="34" charset="0"/>
                <a:ea typeface="Arial" pitchFamily="34" charset="-122"/>
                <a:cs typeface="Arial" pitchFamily="34" charset="-120"/>
              </a:rPr>
            </a:br>
            <a:r>
              <a:rPr lang="en-US" sz="1100" i="1">
                <a:latin typeface="Arial" pitchFamily="34" charset="0"/>
                <a:ea typeface="Arial" pitchFamily="34" charset="-122"/>
                <a:cs typeface="Arial" pitchFamily="34" charset="-120"/>
              </a:rPr>
              <a:t>data flow</a:t>
            </a:r>
            <a:endParaRPr lang="en-US" sz="1100"/>
          </a:p>
        </p:txBody>
      </p:sp>
    </p:spTree>
    <p:extLst>
      <p:ext uri="{BB962C8B-B14F-4D97-AF65-F5344CB8AC3E}">
        <p14:creationId xmlns:p14="http://schemas.microsoft.com/office/powerpoint/2010/main" val="377861353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hape 29">
            <a:extLst>
              <a:ext uri="{FF2B5EF4-FFF2-40B4-BE49-F238E27FC236}">
                <a16:creationId xmlns:a16="http://schemas.microsoft.com/office/drawing/2014/main" id="{0FAD563F-D3DE-0476-E0B0-D2B906D18615}"/>
              </a:ext>
            </a:extLst>
          </p:cNvPr>
          <p:cNvSpPr/>
          <p:nvPr/>
        </p:nvSpPr>
        <p:spPr>
          <a:xfrm>
            <a:off x="582488" y="1877961"/>
            <a:ext cx="2638044" cy="2697480"/>
          </a:xfrm>
          <a:prstGeom prst="rect">
            <a:avLst/>
          </a:prstGeom>
          <a:solidFill>
            <a:srgbClr val="F0F3F5"/>
          </a:solidFill>
          <a:ln w="12700">
            <a:solidFill>
              <a:srgbClr val="D5D8DD"/>
            </a:solidFill>
            <a:prstDash val="dash"/>
          </a:ln>
        </p:spPr>
        <p:txBody>
          <a:bodyPr/>
          <a:lstStyle/>
          <a:p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42A22C6-E113-3179-23C4-44D977B52A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eporting towards DB Energie/BNB</a:t>
            </a:r>
            <a:br>
              <a:rPr lang="en-US"/>
            </a:br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34B062B-585B-638D-62E4-F0FEF2C8FD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03.06.2026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943C30F-48C8-11CB-066F-F15C296F18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D9F7D-0C28-4C21-AA99-7C67E34F632A}" type="slidenum">
              <a:rPr lang="de-DE" smtClean="0"/>
              <a:t>4</a:t>
            </a:fld>
            <a:endParaRPr lang="de-DE"/>
          </a:p>
        </p:txBody>
      </p:sp>
      <p:sp>
        <p:nvSpPr>
          <p:cNvPr id="7" name="Shape 12">
            <a:extLst>
              <a:ext uri="{FF2B5EF4-FFF2-40B4-BE49-F238E27FC236}">
                <a16:creationId xmlns:a16="http://schemas.microsoft.com/office/drawing/2014/main" id="{13E43534-97AB-27E6-6275-7A1F1E8273F1}"/>
              </a:ext>
            </a:extLst>
          </p:cNvPr>
          <p:cNvSpPr/>
          <p:nvPr/>
        </p:nvSpPr>
        <p:spPr>
          <a:xfrm>
            <a:off x="1497305" y="2385238"/>
            <a:ext cx="1051560" cy="1051560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tx2"/>
            </a:solidFill>
            <a:prstDash val="solid"/>
          </a:ln>
        </p:spPr>
        <p:txBody>
          <a:bodyPr/>
          <a:lstStyle/>
          <a:p>
            <a:endParaRPr lang="de-DE"/>
          </a:p>
        </p:txBody>
      </p:sp>
      <p:sp>
        <p:nvSpPr>
          <p:cNvPr id="15" name="Shape 17">
            <a:extLst>
              <a:ext uri="{FF2B5EF4-FFF2-40B4-BE49-F238E27FC236}">
                <a16:creationId xmlns:a16="http://schemas.microsoft.com/office/drawing/2014/main" id="{EF985FEF-2068-C2D9-3AEF-2EF677388BA9}"/>
              </a:ext>
            </a:extLst>
          </p:cNvPr>
          <p:cNvSpPr/>
          <p:nvPr/>
        </p:nvSpPr>
        <p:spPr>
          <a:xfrm>
            <a:off x="4453915" y="1934398"/>
            <a:ext cx="3355848" cy="2641043"/>
          </a:xfrm>
          <a:prstGeom prst="rect">
            <a:avLst/>
          </a:prstGeom>
          <a:solidFill>
            <a:srgbClr val="F0F3F5"/>
          </a:solidFill>
          <a:ln w="12700">
            <a:solidFill>
              <a:srgbClr val="D5D8DD"/>
            </a:solidFill>
            <a:prstDash val="dash"/>
          </a:ln>
        </p:spPr>
        <p:txBody>
          <a:bodyPr/>
          <a:lstStyle/>
          <a:p>
            <a:endParaRPr lang="de-DE"/>
          </a:p>
        </p:txBody>
      </p:sp>
      <p:sp>
        <p:nvSpPr>
          <p:cNvPr id="16" name="Text 19">
            <a:extLst>
              <a:ext uri="{FF2B5EF4-FFF2-40B4-BE49-F238E27FC236}">
                <a16:creationId xmlns:a16="http://schemas.microsoft.com/office/drawing/2014/main" id="{2DFA5195-E365-BC82-868B-F835ECEC39D8}"/>
              </a:ext>
            </a:extLst>
          </p:cNvPr>
          <p:cNvSpPr/>
          <p:nvPr/>
        </p:nvSpPr>
        <p:spPr>
          <a:xfrm>
            <a:off x="4453913" y="2127651"/>
            <a:ext cx="3355849" cy="25603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1400" b="1"/>
              <a:t>BNB (DB Energie)</a:t>
            </a:r>
          </a:p>
        </p:txBody>
      </p:sp>
      <p:sp>
        <p:nvSpPr>
          <p:cNvPr id="17" name="Shape 20">
            <a:extLst>
              <a:ext uri="{FF2B5EF4-FFF2-40B4-BE49-F238E27FC236}">
                <a16:creationId xmlns:a16="http://schemas.microsoft.com/office/drawing/2014/main" id="{C6150CED-3F68-52B8-5554-33E67C202400}"/>
              </a:ext>
            </a:extLst>
          </p:cNvPr>
          <p:cNvSpPr/>
          <p:nvPr/>
        </p:nvSpPr>
        <p:spPr>
          <a:xfrm>
            <a:off x="5542051" y="2409886"/>
            <a:ext cx="1051560" cy="1051560"/>
          </a:xfrm>
          <a:prstGeom prst="ellipse">
            <a:avLst/>
          </a:prstGeom>
          <a:solidFill>
            <a:srgbClr val="FFFFFF"/>
          </a:solidFill>
          <a:ln w="12700">
            <a:solidFill>
              <a:schemeClr val="tx1"/>
            </a:solidFill>
            <a:prstDash val="solid"/>
          </a:ln>
        </p:spPr>
        <p:txBody>
          <a:bodyPr/>
          <a:lstStyle/>
          <a:p>
            <a:endParaRPr lang="de-DE"/>
          </a:p>
        </p:txBody>
      </p:sp>
      <p:sp>
        <p:nvSpPr>
          <p:cNvPr id="20" name="Shape 22">
            <a:extLst>
              <a:ext uri="{FF2B5EF4-FFF2-40B4-BE49-F238E27FC236}">
                <a16:creationId xmlns:a16="http://schemas.microsoft.com/office/drawing/2014/main" id="{06D123AC-D0C4-3636-2D7B-BCC325736A27}"/>
              </a:ext>
            </a:extLst>
          </p:cNvPr>
          <p:cNvSpPr/>
          <p:nvPr/>
        </p:nvSpPr>
        <p:spPr>
          <a:xfrm>
            <a:off x="1245845" y="3818709"/>
            <a:ext cx="1554480" cy="496841"/>
          </a:xfrm>
          <a:prstGeom prst="rect">
            <a:avLst/>
          </a:prstGeom>
          <a:solidFill>
            <a:schemeClr val="accent2"/>
          </a:solidFill>
          <a:ln w="12700">
            <a:solidFill>
              <a:schemeClr val="accent2"/>
            </a:solidFill>
            <a:prstDash val="solid"/>
          </a:ln>
        </p:spPr>
        <p:txBody>
          <a:bodyPr/>
          <a:lstStyle/>
          <a:p>
            <a:pPr algn="ctr"/>
            <a:r>
              <a:rPr lang="de-DE" sz="1400">
                <a:solidFill>
                  <a:schemeClr val="bg1"/>
                </a:solidFill>
              </a:rPr>
              <a:t>ANe-tEns</a:t>
            </a:r>
            <a:br>
              <a:rPr lang="de-DE" sz="1400">
                <a:solidFill>
                  <a:schemeClr val="bg1"/>
                </a:solidFill>
              </a:rPr>
            </a:br>
            <a:r>
              <a:rPr lang="de-DE" sz="1400" err="1">
                <a:solidFill>
                  <a:schemeClr val="bg1"/>
                </a:solidFill>
              </a:rPr>
              <a:t>vehicle</a:t>
            </a:r>
            <a:r>
              <a:rPr lang="de-DE" sz="1400">
                <a:solidFill>
                  <a:schemeClr val="bg1"/>
                </a:solidFill>
              </a:rPr>
              <a:t> </a:t>
            </a:r>
            <a:r>
              <a:rPr lang="de-DE" sz="1400" err="1">
                <a:solidFill>
                  <a:schemeClr val="bg1"/>
                </a:solidFill>
              </a:rPr>
              <a:t>keeper</a:t>
            </a:r>
            <a:endParaRPr lang="de-DE" sz="1400">
              <a:solidFill>
                <a:schemeClr val="bg1"/>
              </a:solidFill>
            </a:endParaRPr>
          </a:p>
        </p:txBody>
      </p:sp>
      <p:sp>
        <p:nvSpPr>
          <p:cNvPr id="27" name="Shape 28">
            <a:extLst>
              <a:ext uri="{FF2B5EF4-FFF2-40B4-BE49-F238E27FC236}">
                <a16:creationId xmlns:a16="http://schemas.microsoft.com/office/drawing/2014/main" id="{E60B62FB-73CC-C842-62CB-10C916FE4488}"/>
              </a:ext>
            </a:extLst>
          </p:cNvPr>
          <p:cNvSpPr/>
          <p:nvPr/>
        </p:nvSpPr>
        <p:spPr>
          <a:xfrm>
            <a:off x="3278911" y="3141675"/>
            <a:ext cx="1097280" cy="0"/>
          </a:xfrm>
          <a:prstGeom prst="line">
            <a:avLst/>
          </a:prstGeom>
          <a:noFill/>
          <a:ln w="50800">
            <a:solidFill>
              <a:schemeClr val="tx1"/>
            </a:solidFill>
            <a:prstDash val="solid"/>
            <a:tailEnd type="triangle"/>
          </a:ln>
        </p:spPr>
        <p:txBody>
          <a:bodyPr/>
          <a:lstStyle/>
          <a:p>
            <a:endParaRPr lang="de-DE"/>
          </a:p>
        </p:txBody>
      </p:sp>
      <p:sp>
        <p:nvSpPr>
          <p:cNvPr id="28" name="Shape 29">
            <a:extLst>
              <a:ext uri="{FF2B5EF4-FFF2-40B4-BE49-F238E27FC236}">
                <a16:creationId xmlns:a16="http://schemas.microsoft.com/office/drawing/2014/main" id="{7D9AAE1B-2269-FE45-2C11-B56716042481}"/>
              </a:ext>
            </a:extLst>
          </p:cNvPr>
          <p:cNvSpPr/>
          <p:nvPr/>
        </p:nvSpPr>
        <p:spPr>
          <a:xfrm>
            <a:off x="9016771" y="1883664"/>
            <a:ext cx="2638044" cy="2697480"/>
          </a:xfrm>
          <a:prstGeom prst="rect">
            <a:avLst/>
          </a:prstGeom>
          <a:solidFill>
            <a:srgbClr val="F0F3F5"/>
          </a:solidFill>
          <a:ln w="12700">
            <a:solidFill>
              <a:srgbClr val="D5D8DD"/>
            </a:solidFill>
            <a:prstDash val="dash"/>
          </a:ln>
        </p:spPr>
        <p:txBody>
          <a:bodyPr/>
          <a:lstStyle/>
          <a:p>
            <a:endParaRPr lang="de-DE"/>
          </a:p>
        </p:txBody>
      </p:sp>
      <p:sp>
        <p:nvSpPr>
          <p:cNvPr id="29" name="Shape 31">
            <a:extLst>
              <a:ext uri="{FF2B5EF4-FFF2-40B4-BE49-F238E27FC236}">
                <a16:creationId xmlns:a16="http://schemas.microsoft.com/office/drawing/2014/main" id="{E9E2832A-D926-A706-7BBF-561D37099EB4}"/>
              </a:ext>
            </a:extLst>
          </p:cNvPr>
          <p:cNvSpPr/>
          <p:nvPr/>
        </p:nvSpPr>
        <p:spPr>
          <a:xfrm>
            <a:off x="9643135" y="2307729"/>
            <a:ext cx="1051560" cy="1051560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tx2"/>
            </a:solidFill>
            <a:prstDash val="solid"/>
          </a:ln>
        </p:spPr>
        <p:txBody>
          <a:bodyPr/>
          <a:lstStyle/>
          <a:p>
            <a:endParaRPr lang="de-DE"/>
          </a:p>
        </p:txBody>
      </p:sp>
      <p:pic>
        <p:nvPicPr>
          <p:cNvPr id="30" name="Image 6" descr="preencoded.png">
            <a:extLst>
              <a:ext uri="{FF2B5EF4-FFF2-40B4-BE49-F238E27FC236}">
                <a16:creationId xmlns:a16="http://schemas.microsoft.com/office/drawing/2014/main" id="{66368FCF-6A23-B897-9BD2-35848926302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07755" y="2599354"/>
            <a:ext cx="621792" cy="621792"/>
          </a:xfrm>
          <a:prstGeom prst="rect">
            <a:avLst/>
          </a:prstGeom>
        </p:spPr>
      </p:pic>
      <p:sp>
        <p:nvSpPr>
          <p:cNvPr id="33" name="Shape 34">
            <a:extLst>
              <a:ext uri="{FF2B5EF4-FFF2-40B4-BE49-F238E27FC236}">
                <a16:creationId xmlns:a16="http://schemas.microsoft.com/office/drawing/2014/main" id="{65FF4C06-ED9B-13B2-6F80-2DE6658BAAF1}"/>
              </a:ext>
            </a:extLst>
          </p:cNvPr>
          <p:cNvSpPr/>
          <p:nvPr/>
        </p:nvSpPr>
        <p:spPr>
          <a:xfrm>
            <a:off x="508279" y="4818528"/>
            <a:ext cx="3593592" cy="841248"/>
          </a:xfrm>
          <a:prstGeom prst="rect">
            <a:avLst/>
          </a:prstGeom>
          <a:solidFill>
            <a:srgbClr val="FFFFFF"/>
          </a:solidFill>
          <a:ln w="12700">
            <a:solidFill>
              <a:srgbClr val="D5D8DD"/>
            </a:solidFill>
            <a:prstDash val="solid"/>
          </a:ln>
        </p:spPr>
        <p:txBody>
          <a:bodyPr/>
          <a:lstStyle/>
          <a:p>
            <a:endParaRPr lang="de-DE"/>
          </a:p>
        </p:txBody>
      </p:sp>
      <p:sp>
        <p:nvSpPr>
          <p:cNvPr id="34" name="Shape 35">
            <a:extLst>
              <a:ext uri="{FF2B5EF4-FFF2-40B4-BE49-F238E27FC236}">
                <a16:creationId xmlns:a16="http://schemas.microsoft.com/office/drawing/2014/main" id="{E3C44B32-18EB-35DE-A20C-D9A62C1BF1FF}"/>
              </a:ext>
            </a:extLst>
          </p:cNvPr>
          <p:cNvSpPr/>
          <p:nvPr/>
        </p:nvSpPr>
        <p:spPr>
          <a:xfrm>
            <a:off x="508279" y="4818528"/>
            <a:ext cx="91440" cy="841248"/>
          </a:xfrm>
          <a:prstGeom prst="rect">
            <a:avLst/>
          </a:prstGeom>
          <a:solidFill>
            <a:srgbClr val="EC0016"/>
          </a:solidFill>
          <a:ln w="12700">
            <a:solidFill>
              <a:srgbClr val="EC0016"/>
            </a:solidFill>
            <a:prstDash val="solid"/>
          </a:ln>
        </p:spPr>
        <p:txBody>
          <a:bodyPr/>
          <a:lstStyle/>
          <a:p>
            <a:endParaRPr lang="de-DE"/>
          </a:p>
        </p:txBody>
      </p:sp>
      <p:sp>
        <p:nvSpPr>
          <p:cNvPr id="35" name="Shape 36">
            <a:extLst>
              <a:ext uri="{FF2B5EF4-FFF2-40B4-BE49-F238E27FC236}">
                <a16:creationId xmlns:a16="http://schemas.microsoft.com/office/drawing/2014/main" id="{72D83A72-6261-365D-A17F-C0EFB90099C9}"/>
              </a:ext>
            </a:extLst>
          </p:cNvPr>
          <p:cNvSpPr/>
          <p:nvPr/>
        </p:nvSpPr>
        <p:spPr>
          <a:xfrm>
            <a:off x="736879" y="5010552"/>
            <a:ext cx="457200" cy="457200"/>
          </a:xfrm>
          <a:prstGeom prst="ellipse">
            <a:avLst/>
          </a:prstGeom>
          <a:solidFill>
            <a:srgbClr val="F0F3F5"/>
          </a:solidFill>
          <a:ln w="12700">
            <a:solidFill>
              <a:srgbClr val="F0F3F5"/>
            </a:solidFill>
            <a:prstDash val="solid"/>
          </a:ln>
        </p:spPr>
        <p:txBody>
          <a:bodyPr/>
          <a:lstStyle/>
          <a:p>
            <a:endParaRPr lang="de-DE"/>
          </a:p>
        </p:txBody>
      </p:sp>
      <p:pic>
        <p:nvPicPr>
          <p:cNvPr id="36" name="Image 7" descr="preencoded.png">
            <a:extLst>
              <a:ext uri="{FF2B5EF4-FFF2-40B4-BE49-F238E27FC236}">
                <a16:creationId xmlns:a16="http://schemas.microsoft.com/office/drawing/2014/main" id="{8B64C08D-6305-102F-B318-666CF1B12D9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37463" y="5111136"/>
            <a:ext cx="256032" cy="256032"/>
          </a:xfrm>
          <a:prstGeom prst="rect">
            <a:avLst/>
          </a:prstGeom>
        </p:spPr>
      </p:pic>
      <p:sp>
        <p:nvSpPr>
          <p:cNvPr id="37" name="Text 37">
            <a:extLst>
              <a:ext uri="{FF2B5EF4-FFF2-40B4-BE49-F238E27FC236}">
                <a16:creationId xmlns:a16="http://schemas.microsoft.com/office/drawing/2014/main" id="{F8332A20-4E4A-4CDE-FB20-B23F62BFAA79}"/>
              </a:ext>
            </a:extLst>
          </p:cNvPr>
          <p:cNvSpPr/>
          <p:nvPr/>
        </p:nvSpPr>
        <p:spPr>
          <a:xfrm>
            <a:off x="1331239" y="4928256"/>
            <a:ext cx="2651760" cy="29260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1400" b="1" dirty="0">
                <a:solidFill>
                  <a:srgbClr val="131821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Vehicle assignment</a:t>
            </a:r>
            <a:endParaRPr lang="en-US" sz="1400" dirty="0"/>
          </a:p>
        </p:txBody>
      </p:sp>
      <p:sp>
        <p:nvSpPr>
          <p:cNvPr id="38" name="Text 38">
            <a:extLst>
              <a:ext uri="{FF2B5EF4-FFF2-40B4-BE49-F238E27FC236}">
                <a16:creationId xmlns:a16="http://schemas.microsoft.com/office/drawing/2014/main" id="{F178D0CA-705D-D6E2-CC65-A4E7FEDF7F8D}"/>
              </a:ext>
            </a:extLst>
          </p:cNvPr>
          <p:cNvSpPr/>
          <p:nvPr/>
        </p:nvSpPr>
        <p:spPr>
          <a:xfrm>
            <a:off x="1331239" y="5202576"/>
            <a:ext cx="2697480" cy="384048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l">
              <a:buNone/>
            </a:pPr>
            <a:r>
              <a:rPr lang="en-US" sz="1050">
                <a:solidFill>
                  <a:srgbClr val="3C414B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Which user has been using the vehicle?</a:t>
            </a:r>
            <a:endParaRPr lang="en-US" sz="1050"/>
          </a:p>
        </p:txBody>
      </p:sp>
      <p:sp>
        <p:nvSpPr>
          <p:cNvPr id="39" name="Shape 39">
            <a:extLst>
              <a:ext uri="{FF2B5EF4-FFF2-40B4-BE49-F238E27FC236}">
                <a16:creationId xmlns:a16="http://schemas.microsoft.com/office/drawing/2014/main" id="{BCDFF087-B753-5484-70CD-3FB729CBDA36}"/>
              </a:ext>
            </a:extLst>
          </p:cNvPr>
          <p:cNvSpPr/>
          <p:nvPr/>
        </p:nvSpPr>
        <p:spPr>
          <a:xfrm>
            <a:off x="4284751" y="4818528"/>
            <a:ext cx="3593592" cy="841248"/>
          </a:xfrm>
          <a:prstGeom prst="rect">
            <a:avLst/>
          </a:prstGeom>
          <a:solidFill>
            <a:srgbClr val="FFFFFF"/>
          </a:solidFill>
          <a:ln w="12700">
            <a:solidFill>
              <a:srgbClr val="D5D8DD"/>
            </a:solidFill>
            <a:prstDash val="solid"/>
          </a:ln>
        </p:spPr>
        <p:txBody>
          <a:bodyPr/>
          <a:lstStyle/>
          <a:p>
            <a:endParaRPr lang="de-DE"/>
          </a:p>
        </p:txBody>
      </p:sp>
      <p:sp>
        <p:nvSpPr>
          <p:cNvPr id="40" name="Shape 40">
            <a:extLst>
              <a:ext uri="{FF2B5EF4-FFF2-40B4-BE49-F238E27FC236}">
                <a16:creationId xmlns:a16="http://schemas.microsoft.com/office/drawing/2014/main" id="{79586CC2-6E18-B927-1BF0-D1648AD5290B}"/>
              </a:ext>
            </a:extLst>
          </p:cNvPr>
          <p:cNvSpPr/>
          <p:nvPr/>
        </p:nvSpPr>
        <p:spPr>
          <a:xfrm>
            <a:off x="4284751" y="4818528"/>
            <a:ext cx="91440" cy="841248"/>
          </a:xfrm>
          <a:prstGeom prst="rect">
            <a:avLst/>
          </a:prstGeom>
          <a:solidFill>
            <a:srgbClr val="EC0016"/>
          </a:solidFill>
          <a:ln w="12700">
            <a:solidFill>
              <a:srgbClr val="EC0016"/>
            </a:solidFill>
            <a:prstDash val="solid"/>
          </a:ln>
        </p:spPr>
        <p:txBody>
          <a:bodyPr/>
          <a:lstStyle/>
          <a:p>
            <a:endParaRPr lang="de-DE"/>
          </a:p>
        </p:txBody>
      </p:sp>
      <p:sp>
        <p:nvSpPr>
          <p:cNvPr id="41" name="Shape 41">
            <a:extLst>
              <a:ext uri="{FF2B5EF4-FFF2-40B4-BE49-F238E27FC236}">
                <a16:creationId xmlns:a16="http://schemas.microsoft.com/office/drawing/2014/main" id="{F1F20F5E-22AF-0E08-D760-6F1BFEEC12A6}"/>
              </a:ext>
            </a:extLst>
          </p:cNvPr>
          <p:cNvSpPr/>
          <p:nvPr/>
        </p:nvSpPr>
        <p:spPr>
          <a:xfrm>
            <a:off x="4513351" y="5010552"/>
            <a:ext cx="457200" cy="457200"/>
          </a:xfrm>
          <a:prstGeom prst="ellipse">
            <a:avLst/>
          </a:prstGeom>
          <a:solidFill>
            <a:srgbClr val="F0F3F5"/>
          </a:solidFill>
          <a:ln w="12700">
            <a:solidFill>
              <a:srgbClr val="F0F3F5"/>
            </a:solidFill>
            <a:prstDash val="solid"/>
          </a:ln>
        </p:spPr>
        <p:txBody>
          <a:bodyPr/>
          <a:lstStyle/>
          <a:p>
            <a:endParaRPr lang="de-DE"/>
          </a:p>
        </p:txBody>
      </p:sp>
      <p:sp>
        <p:nvSpPr>
          <p:cNvPr id="43" name="Text 42">
            <a:extLst>
              <a:ext uri="{FF2B5EF4-FFF2-40B4-BE49-F238E27FC236}">
                <a16:creationId xmlns:a16="http://schemas.microsoft.com/office/drawing/2014/main" id="{8E225290-6A5C-2F2E-F287-C50FE3C0E13F}"/>
              </a:ext>
            </a:extLst>
          </p:cNvPr>
          <p:cNvSpPr/>
          <p:nvPr/>
        </p:nvSpPr>
        <p:spPr>
          <a:xfrm>
            <a:off x="5107711" y="4928256"/>
            <a:ext cx="2651760" cy="29260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1400" b="1" dirty="0">
                <a:solidFill>
                  <a:srgbClr val="131821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Energy allocation </a:t>
            </a:r>
            <a:endParaRPr lang="en-US" sz="1400" dirty="0"/>
          </a:p>
        </p:txBody>
      </p:sp>
      <p:sp>
        <p:nvSpPr>
          <p:cNvPr id="44" name="Text 43">
            <a:extLst>
              <a:ext uri="{FF2B5EF4-FFF2-40B4-BE49-F238E27FC236}">
                <a16:creationId xmlns:a16="http://schemas.microsoft.com/office/drawing/2014/main" id="{14236AB6-D6AE-F854-016B-6662E50A487F}"/>
              </a:ext>
            </a:extLst>
          </p:cNvPr>
          <p:cNvSpPr/>
          <p:nvPr/>
        </p:nvSpPr>
        <p:spPr>
          <a:xfrm>
            <a:off x="5107711" y="5202576"/>
            <a:ext cx="2697480" cy="384048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l">
              <a:buNone/>
            </a:pPr>
            <a:r>
              <a:rPr lang="en-US" sz="1050"/>
              <a:t>Allocate the consumption to the relevant user</a:t>
            </a:r>
          </a:p>
        </p:txBody>
      </p:sp>
      <p:sp>
        <p:nvSpPr>
          <p:cNvPr id="45" name="Shape 44">
            <a:extLst>
              <a:ext uri="{FF2B5EF4-FFF2-40B4-BE49-F238E27FC236}">
                <a16:creationId xmlns:a16="http://schemas.microsoft.com/office/drawing/2014/main" id="{882D5D73-FB7F-222D-463C-C8BE059497E5}"/>
              </a:ext>
            </a:extLst>
          </p:cNvPr>
          <p:cNvSpPr/>
          <p:nvPr/>
        </p:nvSpPr>
        <p:spPr>
          <a:xfrm>
            <a:off x="8061223" y="4818528"/>
            <a:ext cx="3593592" cy="841248"/>
          </a:xfrm>
          <a:prstGeom prst="rect">
            <a:avLst/>
          </a:prstGeom>
          <a:solidFill>
            <a:srgbClr val="FFFFFF"/>
          </a:solidFill>
          <a:ln w="12700">
            <a:solidFill>
              <a:srgbClr val="D5D8DD"/>
            </a:solidFill>
            <a:prstDash val="solid"/>
          </a:ln>
        </p:spPr>
        <p:txBody>
          <a:bodyPr/>
          <a:lstStyle/>
          <a:p>
            <a:endParaRPr lang="de-DE"/>
          </a:p>
        </p:txBody>
      </p:sp>
      <p:sp>
        <p:nvSpPr>
          <p:cNvPr id="46" name="Shape 45">
            <a:extLst>
              <a:ext uri="{FF2B5EF4-FFF2-40B4-BE49-F238E27FC236}">
                <a16:creationId xmlns:a16="http://schemas.microsoft.com/office/drawing/2014/main" id="{322E6007-643F-0342-4537-80279F6DC575}"/>
              </a:ext>
            </a:extLst>
          </p:cNvPr>
          <p:cNvSpPr/>
          <p:nvPr/>
        </p:nvSpPr>
        <p:spPr>
          <a:xfrm>
            <a:off x="8061223" y="4818528"/>
            <a:ext cx="91440" cy="841248"/>
          </a:xfrm>
          <a:prstGeom prst="rect">
            <a:avLst/>
          </a:prstGeom>
          <a:solidFill>
            <a:srgbClr val="EC0016"/>
          </a:solidFill>
          <a:ln w="12700">
            <a:solidFill>
              <a:srgbClr val="EC0016"/>
            </a:solidFill>
            <a:prstDash val="solid"/>
          </a:ln>
        </p:spPr>
        <p:txBody>
          <a:bodyPr/>
          <a:lstStyle/>
          <a:p>
            <a:endParaRPr lang="de-DE"/>
          </a:p>
        </p:txBody>
      </p:sp>
      <p:sp>
        <p:nvSpPr>
          <p:cNvPr id="47" name="Shape 46">
            <a:extLst>
              <a:ext uri="{FF2B5EF4-FFF2-40B4-BE49-F238E27FC236}">
                <a16:creationId xmlns:a16="http://schemas.microsoft.com/office/drawing/2014/main" id="{57336BE9-6B87-CF95-0325-DA2B42AA07CB}"/>
              </a:ext>
            </a:extLst>
          </p:cNvPr>
          <p:cNvSpPr/>
          <p:nvPr/>
        </p:nvSpPr>
        <p:spPr>
          <a:xfrm>
            <a:off x="8289823" y="5010552"/>
            <a:ext cx="457200" cy="457200"/>
          </a:xfrm>
          <a:prstGeom prst="ellipse">
            <a:avLst/>
          </a:prstGeom>
          <a:solidFill>
            <a:srgbClr val="F0F3F5"/>
          </a:solidFill>
          <a:ln w="12700">
            <a:solidFill>
              <a:srgbClr val="F0F3F5"/>
            </a:solidFill>
            <a:prstDash val="solid"/>
          </a:ln>
        </p:spPr>
        <p:txBody>
          <a:bodyPr/>
          <a:lstStyle/>
          <a:p>
            <a:endParaRPr lang="de-DE"/>
          </a:p>
        </p:txBody>
      </p:sp>
      <p:pic>
        <p:nvPicPr>
          <p:cNvPr id="48" name="Image 9" descr="preencoded.png">
            <a:extLst>
              <a:ext uri="{FF2B5EF4-FFF2-40B4-BE49-F238E27FC236}">
                <a16:creationId xmlns:a16="http://schemas.microsoft.com/office/drawing/2014/main" id="{2E80F3C1-F5D3-EABF-AAEE-8CA7E1D72ED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32223" y="5111136"/>
            <a:ext cx="256032" cy="256032"/>
          </a:xfrm>
          <a:prstGeom prst="rect">
            <a:avLst/>
          </a:prstGeom>
        </p:spPr>
      </p:pic>
      <p:sp>
        <p:nvSpPr>
          <p:cNvPr id="49" name="Text 47">
            <a:extLst>
              <a:ext uri="{FF2B5EF4-FFF2-40B4-BE49-F238E27FC236}">
                <a16:creationId xmlns:a16="http://schemas.microsoft.com/office/drawing/2014/main" id="{BE001BA8-82A8-27F5-58A9-01659C1DCB8C}"/>
              </a:ext>
            </a:extLst>
          </p:cNvPr>
          <p:cNvSpPr/>
          <p:nvPr/>
        </p:nvSpPr>
        <p:spPr>
          <a:xfrm>
            <a:off x="8884183" y="4928256"/>
            <a:ext cx="2651760" cy="29260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1400" b="1">
                <a:solidFill>
                  <a:srgbClr val="131821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Vehicle usage</a:t>
            </a:r>
            <a:endParaRPr lang="en-US" sz="1400"/>
          </a:p>
        </p:txBody>
      </p:sp>
      <p:sp>
        <p:nvSpPr>
          <p:cNvPr id="50" name="Text 48">
            <a:extLst>
              <a:ext uri="{FF2B5EF4-FFF2-40B4-BE49-F238E27FC236}">
                <a16:creationId xmlns:a16="http://schemas.microsoft.com/office/drawing/2014/main" id="{426E0B95-2F35-3D90-60C2-DF49978837F9}"/>
              </a:ext>
            </a:extLst>
          </p:cNvPr>
          <p:cNvSpPr/>
          <p:nvPr/>
        </p:nvSpPr>
        <p:spPr>
          <a:xfrm>
            <a:off x="8884183" y="5202576"/>
            <a:ext cx="2697480" cy="384048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l">
              <a:buNone/>
            </a:pPr>
            <a:r>
              <a:rPr lang="en-US" sz="1050">
                <a:solidFill>
                  <a:srgbClr val="3C414B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Where has the vehicle been operating, what kind of train runs?</a:t>
            </a:r>
            <a:endParaRPr lang="en-US" sz="1050"/>
          </a:p>
        </p:txBody>
      </p:sp>
      <p:pic>
        <p:nvPicPr>
          <p:cNvPr id="52" name="Image 10" descr="preencoded.png">
            <a:extLst>
              <a:ext uri="{FF2B5EF4-FFF2-40B4-BE49-F238E27FC236}">
                <a16:creationId xmlns:a16="http://schemas.microsoft.com/office/drawing/2014/main" id="{3461AE02-F2E3-883E-E8A0-6F7179D55D6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91159" y="5906664"/>
            <a:ext cx="274320" cy="283464"/>
          </a:xfrm>
          <a:prstGeom prst="rect">
            <a:avLst/>
          </a:prstGeom>
        </p:spPr>
      </p:pic>
      <p:sp>
        <p:nvSpPr>
          <p:cNvPr id="53" name="Text 50">
            <a:extLst>
              <a:ext uri="{FF2B5EF4-FFF2-40B4-BE49-F238E27FC236}">
                <a16:creationId xmlns:a16="http://schemas.microsoft.com/office/drawing/2014/main" id="{508856B7-D473-2CC9-51D0-DB3FCE9A1EAD}"/>
              </a:ext>
            </a:extLst>
          </p:cNvPr>
          <p:cNvSpPr/>
          <p:nvPr/>
        </p:nvSpPr>
        <p:spPr>
          <a:xfrm>
            <a:off x="1066063" y="5778648"/>
            <a:ext cx="10515600" cy="5029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1400" b="1">
                <a:solidFill>
                  <a:schemeClr val="bg1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Complete energy consumption:  </a:t>
            </a:r>
            <a:r>
              <a:rPr lang="en-US" sz="1400">
                <a:solidFill>
                  <a:schemeClr val="bg1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For each vehicle, all energy shall be accounted for.</a:t>
            </a: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54" name="Shape 10">
            <a:extLst>
              <a:ext uri="{FF2B5EF4-FFF2-40B4-BE49-F238E27FC236}">
                <a16:creationId xmlns:a16="http://schemas.microsoft.com/office/drawing/2014/main" id="{6663CE94-F4B2-8D19-CD97-BDED83D80B52}"/>
              </a:ext>
            </a:extLst>
          </p:cNvPr>
          <p:cNvSpPr/>
          <p:nvPr/>
        </p:nvSpPr>
        <p:spPr>
          <a:xfrm>
            <a:off x="508279" y="1024128"/>
            <a:ext cx="11146536" cy="731520"/>
          </a:xfrm>
          <a:prstGeom prst="rect">
            <a:avLst/>
          </a:prstGeom>
          <a:solidFill>
            <a:srgbClr val="F0F3F5"/>
          </a:solidFill>
          <a:ln w="12700">
            <a:solidFill>
              <a:srgbClr val="F0F3F5"/>
            </a:solidFill>
            <a:prstDash val="solid"/>
          </a:ln>
        </p:spPr>
        <p:txBody>
          <a:bodyPr/>
          <a:lstStyle/>
          <a:p>
            <a:endParaRPr lang="de-DE"/>
          </a:p>
        </p:txBody>
      </p:sp>
      <p:sp>
        <p:nvSpPr>
          <p:cNvPr id="55" name="Shape 11">
            <a:extLst>
              <a:ext uri="{FF2B5EF4-FFF2-40B4-BE49-F238E27FC236}">
                <a16:creationId xmlns:a16="http://schemas.microsoft.com/office/drawing/2014/main" id="{A74F3A01-07DB-2053-DBE7-852A5C082BBF}"/>
              </a:ext>
            </a:extLst>
          </p:cNvPr>
          <p:cNvSpPr/>
          <p:nvPr/>
        </p:nvSpPr>
        <p:spPr>
          <a:xfrm>
            <a:off x="510140" y="1024128"/>
            <a:ext cx="109728" cy="731520"/>
          </a:xfrm>
          <a:prstGeom prst="rect">
            <a:avLst/>
          </a:prstGeom>
          <a:solidFill>
            <a:srgbClr val="EC0016"/>
          </a:solidFill>
          <a:ln w="12700">
            <a:solidFill>
              <a:srgbClr val="EC0016"/>
            </a:solidFill>
            <a:prstDash val="solid"/>
          </a:ln>
        </p:spPr>
        <p:txBody>
          <a:bodyPr/>
          <a:lstStyle/>
          <a:p>
            <a:endParaRPr lang="de-DE"/>
          </a:p>
        </p:txBody>
      </p:sp>
      <p:sp>
        <p:nvSpPr>
          <p:cNvPr id="56" name="Text 12">
            <a:extLst>
              <a:ext uri="{FF2B5EF4-FFF2-40B4-BE49-F238E27FC236}">
                <a16:creationId xmlns:a16="http://schemas.microsoft.com/office/drawing/2014/main" id="{9C80019F-29AD-25DC-BB2D-A3AD934F5A9B}"/>
              </a:ext>
            </a:extLst>
          </p:cNvPr>
          <p:cNvSpPr/>
          <p:nvPr/>
        </p:nvSpPr>
        <p:spPr>
          <a:xfrm>
            <a:off x="868680" y="1069848"/>
            <a:ext cx="3657600" cy="2286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1200" b="1" kern="0" spc="300">
                <a:solidFill>
                  <a:srgbClr val="EC0016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Picture of data flow</a:t>
            </a:r>
            <a:endParaRPr lang="en-US" sz="1200"/>
          </a:p>
        </p:txBody>
      </p:sp>
      <p:sp>
        <p:nvSpPr>
          <p:cNvPr id="57" name="Text 13">
            <a:extLst>
              <a:ext uri="{FF2B5EF4-FFF2-40B4-BE49-F238E27FC236}">
                <a16:creationId xmlns:a16="http://schemas.microsoft.com/office/drawing/2014/main" id="{05BDDE43-6F6F-32FF-983F-492235D1EBAA}"/>
              </a:ext>
            </a:extLst>
          </p:cNvPr>
          <p:cNvSpPr/>
          <p:nvPr/>
        </p:nvSpPr>
        <p:spPr>
          <a:xfrm>
            <a:off x="868680" y="1357884"/>
            <a:ext cx="10515600" cy="45720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r>
              <a:rPr lang="en-US" sz="1200">
                <a:solidFill>
                  <a:srgbClr val="3C414B"/>
                </a:solidFill>
                <a:latin typeface="Arial" pitchFamily="34" charset="0"/>
                <a:cs typeface="Arial" pitchFamily="34" charset="-120"/>
              </a:rPr>
              <a:t>ANe-tEns (vehicle keeper) reports vehicle user (Railway Undertaking)</a:t>
            </a:r>
          </a:p>
          <a:p>
            <a:r>
              <a:rPr lang="en-US" sz="1200">
                <a:solidFill>
                  <a:srgbClr val="3C414B"/>
                </a:solidFill>
                <a:latin typeface="Arial" pitchFamily="34" charset="0"/>
                <a:cs typeface="Arial" pitchFamily="34" charset="-120"/>
              </a:rPr>
              <a:t>ANu-vEns (vehicle user) reports specific information during time of usage.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547E6347-89A3-CCBC-2939-16DE10EE6161}"/>
              </a:ext>
            </a:extLst>
          </p:cNvPr>
          <p:cNvSpPr txBox="1"/>
          <p:nvPr/>
        </p:nvSpPr>
        <p:spPr>
          <a:xfrm>
            <a:off x="13749" y="8361"/>
            <a:ext cx="2351315" cy="227994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>
            <a:spAutoFit/>
          </a:bodyPr>
          <a:lstStyle/>
          <a:p>
            <a:pPr marL="180000" indent="-180000" algn="l">
              <a:buClr>
                <a:schemeClr val="accent2"/>
              </a:buClr>
              <a:buFont typeface="+mn-lt"/>
              <a:buChar char="•"/>
            </a:pPr>
            <a:endParaRPr lang="de-DE" sz="1600"/>
          </a:p>
        </p:txBody>
      </p:sp>
      <p:pic>
        <p:nvPicPr>
          <p:cNvPr id="18" name="Image 3" descr="preencoded.png">
            <a:extLst>
              <a:ext uri="{FF2B5EF4-FFF2-40B4-BE49-F238E27FC236}">
                <a16:creationId xmlns:a16="http://schemas.microsoft.com/office/drawing/2014/main" id="{391034E0-C6A1-24B2-4B04-7F0830E1F6A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844235" y="2485834"/>
            <a:ext cx="640080" cy="640080"/>
          </a:xfrm>
          <a:prstGeom prst="rect">
            <a:avLst/>
          </a:prstGeom>
        </p:spPr>
      </p:pic>
      <p:pic>
        <p:nvPicPr>
          <p:cNvPr id="13" name="Image 3" descr="preencoded.png">
            <a:extLst>
              <a:ext uri="{FF2B5EF4-FFF2-40B4-BE49-F238E27FC236}">
                <a16:creationId xmlns:a16="http://schemas.microsoft.com/office/drawing/2014/main" id="{C452358E-578D-D826-49D1-09922CD37D0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703045" y="2554691"/>
            <a:ext cx="640080" cy="640080"/>
          </a:xfrm>
          <a:prstGeom prst="rect">
            <a:avLst/>
          </a:prstGeom>
        </p:spPr>
      </p:pic>
      <p:sp>
        <p:nvSpPr>
          <p:cNvPr id="22" name="Shape 24">
            <a:extLst>
              <a:ext uri="{FF2B5EF4-FFF2-40B4-BE49-F238E27FC236}">
                <a16:creationId xmlns:a16="http://schemas.microsoft.com/office/drawing/2014/main" id="{73CD1D7E-07F3-6271-5F15-F37A892034FC}"/>
              </a:ext>
            </a:extLst>
          </p:cNvPr>
          <p:cNvSpPr/>
          <p:nvPr/>
        </p:nvSpPr>
        <p:spPr>
          <a:xfrm>
            <a:off x="9432823" y="3743337"/>
            <a:ext cx="1554480" cy="493776"/>
          </a:xfrm>
          <a:prstGeom prst="rect">
            <a:avLst/>
          </a:prstGeom>
          <a:solidFill>
            <a:srgbClr val="1C5F9E"/>
          </a:solidFill>
          <a:ln w="12700">
            <a:solidFill>
              <a:srgbClr val="1C5F9E"/>
            </a:solidFill>
            <a:prstDash val="solid"/>
          </a:ln>
        </p:spPr>
        <p:txBody>
          <a:bodyPr/>
          <a:lstStyle/>
          <a:p>
            <a:pPr algn="ctr"/>
            <a:r>
              <a:rPr lang="de-DE" sz="1400">
                <a:solidFill>
                  <a:schemeClr val="bg1"/>
                </a:solidFill>
              </a:rPr>
              <a:t>ANu-vEns</a:t>
            </a:r>
            <a:br>
              <a:rPr lang="de-DE" sz="1400">
                <a:solidFill>
                  <a:schemeClr val="bg1"/>
                </a:solidFill>
              </a:rPr>
            </a:br>
            <a:r>
              <a:rPr lang="de-DE" sz="1400" err="1">
                <a:solidFill>
                  <a:schemeClr val="bg1"/>
                </a:solidFill>
              </a:rPr>
              <a:t>vehicle</a:t>
            </a:r>
            <a:r>
              <a:rPr lang="de-DE" sz="1400">
                <a:solidFill>
                  <a:schemeClr val="bg1"/>
                </a:solidFill>
              </a:rPr>
              <a:t> </a:t>
            </a:r>
            <a:r>
              <a:rPr lang="de-DE" sz="1400" err="1">
                <a:solidFill>
                  <a:schemeClr val="bg1"/>
                </a:solidFill>
              </a:rPr>
              <a:t>user</a:t>
            </a:r>
            <a:endParaRPr lang="de-DE" sz="1400">
              <a:solidFill>
                <a:schemeClr val="bg1"/>
              </a:solidFill>
            </a:endParaRPr>
          </a:p>
        </p:txBody>
      </p:sp>
      <p:sp>
        <p:nvSpPr>
          <p:cNvPr id="14" name="Shape 28">
            <a:extLst>
              <a:ext uri="{FF2B5EF4-FFF2-40B4-BE49-F238E27FC236}">
                <a16:creationId xmlns:a16="http://schemas.microsoft.com/office/drawing/2014/main" id="{0CE8A355-E942-84C5-10A0-20933056DE19}"/>
              </a:ext>
            </a:extLst>
          </p:cNvPr>
          <p:cNvSpPr/>
          <p:nvPr/>
        </p:nvSpPr>
        <p:spPr>
          <a:xfrm flipH="1" flipV="1">
            <a:off x="7954591" y="3221146"/>
            <a:ext cx="943307" cy="0"/>
          </a:xfrm>
          <a:prstGeom prst="line">
            <a:avLst/>
          </a:prstGeom>
          <a:noFill/>
          <a:ln w="50800">
            <a:solidFill>
              <a:schemeClr val="tx1"/>
            </a:solidFill>
            <a:prstDash val="solid"/>
            <a:tailEnd type="triangle"/>
          </a:ln>
        </p:spPr>
        <p:txBody>
          <a:bodyPr/>
          <a:lstStyle/>
          <a:p>
            <a:endParaRPr lang="de-DE"/>
          </a:p>
        </p:txBody>
      </p:sp>
      <p:pic>
        <p:nvPicPr>
          <p:cNvPr id="42" name="Image 8" descr="preencoded.png">
            <a:extLst>
              <a:ext uri="{FF2B5EF4-FFF2-40B4-BE49-F238E27FC236}">
                <a16:creationId xmlns:a16="http://schemas.microsoft.com/office/drawing/2014/main" id="{6B2AE678-B43E-C147-F598-A630508B4F98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8408695" y="5129752"/>
            <a:ext cx="256032" cy="256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719063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A6D5E9F3-0233-46E6-89FB-2E1F39DC27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28" progId="TCLayout.ActiveDocument.1">
                  <p:embed/>
                </p:oleObj>
              </mc:Choice>
              <mc:Fallback>
                <p:oleObj name="think-cell Folie" r:id="rId4" imgW="530" imgH="528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A6D5E9F3-0233-46E6-89FB-2E1F39DC27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el 9">
            <a:extLst>
              <a:ext uri="{FF2B5EF4-FFF2-40B4-BE49-F238E27FC236}">
                <a16:creationId xmlns:a16="http://schemas.microsoft.com/office/drawing/2014/main" id="{0772608F-F08B-4C8C-B58B-ED8BA8C3ED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60000"/>
            <a:ext cx="9905587" cy="411930"/>
          </a:xfrm>
        </p:spPr>
        <p:txBody>
          <a:bodyPr vert="horz"/>
          <a:lstStyle/>
          <a:p>
            <a:r>
              <a:rPr lang="en-US"/>
              <a:t>Deadlines for data reporting and billing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91B138E-8CD5-483C-A241-451C803377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D9F7D-0C28-4C21-AA99-7C67E34F632A}" type="slidenum">
              <a:rPr lang="de-DE" smtClean="0"/>
              <a:pPr/>
              <a:t>5</a:t>
            </a:fld>
            <a:endParaRPr lang="de-DE"/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D029B3A9-EE57-4007-9B1E-16101B709991}"/>
              </a:ext>
            </a:extLst>
          </p:cNvPr>
          <p:cNvSpPr txBox="1"/>
          <p:nvPr/>
        </p:nvSpPr>
        <p:spPr>
          <a:xfrm>
            <a:off x="147105" y="3821790"/>
            <a:ext cx="1150494" cy="1184940"/>
          </a:xfrm>
          <a:prstGeom prst="rect">
            <a:avLst/>
          </a:prstGeom>
          <a:solidFill>
            <a:srgbClr val="FFFFFF"/>
          </a:solidFill>
          <a:ln w="3175">
            <a:solidFill>
              <a:schemeClr val="tx1"/>
            </a:solidFill>
          </a:ln>
        </p:spPr>
        <p:txBody>
          <a:bodyPr wrap="square" lIns="0" tIns="0" rIns="0" bIns="0" rtlCol="0" anchor="ctr">
            <a:spAutoFit/>
          </a:bodyPr>
          <a:lstStyle/>
          <a:p>
            <a:pPr algn="ctr">
              <a:buClr>
                <a:schemeClr val="accent2"/>
              </a:buClr>
            </a:pPr>
            <a:r>
              <a:rPr lang="en-US" sz="1100" b="1"/>
              <a:t>Day on which the usage of the traction unit, and thus the delivery of  energy took place</a:t>
            </a:r>
          </a:p>
        </p:txBody>
      </p:sp>
      <p:sp>
        <p:nvSpPr>
          <p:cNvPr id="17" name="Gleichschenkliges Dreieck 16">
            <a:extLst>
              <a:ext uri="{FF2B5EF4-FFF2-40B4-BE49-F238E27FC236}">
                <a16:creationId xmlns:a16="http://schemas.microsoft.com/office/drawing/2014/main" id="{1F4B2876-470A-4310-B999-DB24397B9ABE}"/>
              </a:ext>
            </a:extLst>
          </p:cNvPr>
          <p:cNvSpPr/>
          <p:nvPr/>
        </p:nvSpPr>
        <p:spPr>
          <a:xfrm rot="10800000">
            <a:off x="7308473" y="1376312"/>
            <a:ext cx="228601" cy="288235"/>
          </a:xfrm>
          <a:prstGeom prst="triangl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buClr>
                <a:schemeClr val="accent2"/>
              </a:buClr>
            </a:pPr>
            <a:endParaRPr lang="de-DE" sz="1600" err="1">
              <a:solidFill>
                <a:schemeClr val="tx1"/>
              </a:solidFill>
            </a:endParaRPr>
          </a:p>
        </p:txBody>
      </p:sp>
      <p:sp>
        <p:nvSpPr>
          <p:cNvPr id="18" name="Gleichschenkliges Dreieck 17">
            <a:extLst>
              <a:ext uri="{FF2B5EF4-FFF2-40B4-BE49-F238E27FC236}">
                <a16:creationId xmlns:a16="http://schemas.microsoft.com/office/drawing/2014/main" id="{9BEEDDAB-B8DF-4A65-BFCD-72DE9FF77118}"/>
              </a:ext>
            </a:extLst>
          </p:cNvPr>
          <p:cNvSpPr/>
          <p:nvPr/>
        </p:nvSpPr>
        <p:spPr>
          <a:xfrm rot="10800000">
            <a:off x="616721" y="1352874"/>
            <a:ext cx="228601" cy="288235"/>
          </a:xfrm>
          <a:prstGeom prst="triangl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buClr>
                <a:schemeClr val="accent2"/>
              </a:buClr>
            </a:pPr>
            <a:endParaRPr lang="de-DE" sz="1600" err="1">
              <a:solidFill>
                <a:schemeClr val="tx1"/>
              </a:solidFill>
            </a:endParaRPr>
          </a:p>
        </p:txBody>
      </p:sp>
      <p:sp>
        <p:nvSpPr>
          <p:cNvPr id="19" name="Gleichschenkliges Dreieck 18">
            <a:extLst>
              <a:ext uri="{FF2B5EF4-FFF2-40B4-BE49-F238E27FC236}">
                <a16:creationId xmlns:a16="http://schemas.microsoft.com/office/drawing/2014/main" id="{CB85E922-AA94-4E16-BA7D-C318E68C41CC}"/>
              </a:ext>
            </a:extLst>
          </p:cNvPr>
          <p:cNvSpPr/>
          <p:nvPr/>
        </p:nvSpPr>
        <p:spPr>
          <a:xfrm rot="10800000">
            <a:off x="1224032" y="1354684"/>
            <a:ext cx="228601" cy="288235"/>
          </a:xfrm>
          <a:prstGeom prst="triangl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buClr>
                <a:schemeClr val="accent2"/>
              </a:buClr>
            </a:pPr>
            <a:endParaRPr lang="de-DE" sz="1600" err="1">
              <a:solidFill>
                <a:schemeClr val="tx1"/>
              </a:solidFill>
            </a:endParaRPr>
          </a:p>
        </p:txBody>
      </p:sp>
      <p:sp>
        <p:nvSpPr>
          <p:cNvPr id="20" name="Gleichschenkliges Dreieck 19">
            <a:extLst>
              <a:ext uri="{FF2B5EF4-FFF2-40B4-BE49-F238E27FC236}">
                <a16:creationId xmlns:a16="http://schemas.microsoft.com/office/drawing/2014/main" id="{23C99B53-4832-49C6-BDF9-0F6A66E73D76}"/>
              </a:ext>
            </a:extLst>
          </p:cNvPr>
          <p:cNvSpPr/>
          <p:nvPr/>
        </p:nvSpPr>
        <p:spPr>
          <a:xfrm rot="10800000">
            <a:off x="2649595" y="1301515"/>
            <a:ext cx="304268" cy="383642"/>
          </a:xfrm>
          <a:prstGeom prst="triangl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buClr>
                <a:schemeClr val="accent2"/>
              </a:buClr>
            </a:pPr>
            <a:endParaRPr lang="de-DE" sz="1600" err="1">
              <a:solidFill>
                <a:schemeClr val="tx1"/>
              </a:solidFill>
            </a:endParaRPr>
          </a:p>
        </p:txBody>
      </p:sp>
      <p:sp>
        <p:nvSpPr>
          <p:cNvPr id="21" name="Gleichschenkliges Dreieck 20">
            <a:extLst>
              <a:ext uri="{FF2B5EF4-FFF2-40B4-BE49-F238E27FC236}">
                <a16:creationId xmlns:a16="http://schemas.microsoft.com/office/drawing/2014/main" id="{D4D347B9-3074-4D94-BC63-2FDB78DF013D}"/>
              </a:ext>
            </a:extLst>
          </p:cNvPr>
          <p:cNvSpPr/>
          <p:nvPr/>
        </p:nvSpPr>
        <p:spPr>
          <a:xfrm rot="10800000">
            <a:off x="4592741" y="1356861"/>
            <a:ext cx="228601" cy="288235"/>
          </a:xfrm>
          <a:prstGeom prst="triangl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buClr>
                <a:schemeClr val="accent2"/>
              </a:buClr>
            </a:pPr>
            <a:endParaRPr lang="de-DE" sz="1600" err="1">
              <a:solidFill>
                <a:schemeClr val="tx1"/>
              </a:solidFill>
            </a:endParaRPr>
          </a:p>
        </p:txBody>
      </p:sp>
      <p:sp>
        <p:nvSpPr>
          <p:cNvPr id="22" name="Gleichschenkliges Dreieck 21">
            <a:extLst>
              <a:ext uri="{FF2B5EF4-FFF2-40B4-BE49-F238E27FC236}">
                <a16:creationId xmlns:a16="http://schemas.microsoft.com/office/drawing/2014/main" id="{3F284888-544F-4BCB-8096-31393ED5EE6E}"/>
              </a:ext>
            </a:extLst>
          </p:cNvPr>
          <p:cNvSpPr/>
          <p:nvPr/>
        </p:nvSpPr>
        <p:spPr>
          <a:xfrm rot="10800000">
            <a:off x="8664613" y="1377030"/>
            <a:ext cx="228601" cy="288235"/>
          </a:xfrm>
          <a:prstGeom prst="triangl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buClr>
                <a:schemeClr val="accent2"/>
              </a:buClr>
            </a:pPr>
            <a:endParaRPr lang="de-DE" sz="1600" err="1">
              <a:solidFill>
                <a:schemeClr val="tx1"/>
              </a:solidFill>
            </a:endParaRPr>
          </a:p>
        </p:txBody>
      </p:sp>
      <p:sp>
        <p:nvSpPr>
          <p:cNvPr id="23" name="Gleichschenkliges Dreieck 22">
            <a:extLst>
              <a:ext uri="{FF2B5EF4-FFF2-40B4-BE49-F238E27FC236}">
                <a16:creationId xmlns:a16="http://schemas.microsoft.com/office/drawing/2014/main" id="{3D06E918-E8FF-43CB-805F-7079FEC12AD5}"/>
              </a:ext>
            </a:extLst>
          </p:cNvPr>
          <p:cNvSpPr/>
          <p:nvPr/>
        </p:nvSpPr>
        <p:spPr>
          <a:xfrm rot="10800000">
            <a:off x="11408433" y="1331697"/>
            <a:ext cx="276607" cy="357903"/>
          </a:xfrm>
          <a:prstGeom prst="triangl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buClr>
                <a:schemeClr val="accent2"/>
              </a:buClr>
            </a:pPr>
            <a:endParaRPr lang="de-DE" sz="1600" err="1">
              <a:solidFill>
                <a:schemeClr val="tx1"/>
              </a:solidFill>
            </a:endParaRP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F12D85F1-2A82-4443-A76A-8BE16DCE5624}"/>
              </a:ext>
            </a:extLst>
          </p:cNvPr>
          <p:cNvSpPr txBox="1"/>
          <p:nvPr/>
        </p:nvSpPr>
        <p:spPr>
          <a:xfrm>
            <a:off x="319093" y="951363"/>
            <a:ext cx="600107" cy="461665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>
              <a:buClr>
                <a:schemeClr val="accent2"/>
              </a:buClr>
            </a:pPr>
            <a:r>
              <a:rPr lang="de-DE" sz="1000" b="1" err="1">
                <a:solidFill>
                  <a:srgbClr val="000000"/>
                </a:solidFill>
              </a:rPr>
              <a:t>Delivery</a:t>
            </a:r>
            <a:r>
              <a:rPr lang="de-DE" sz="1000" b="1">
                <a:solidFill>
                  <a:srgbClr val="000000"/>
                </a:solidFill>
              </a:rPr>
              <a:t> </a:t>
            </a:r>
            <a:r>
              <a:rPr lang="de-DE" sz="1000" b="1" err="1">
                <a:solidFill>
                  <a:srgbClr val="000000"/>
                </a:solidFill>
              </a:rPr>
              <a:t>day</a:t>
            </a:r>
            <a:endParaRPr lang="de-DE" sz="1000" b="1">
              <a:solidFill>
                <a:srgbClr val="000000"/>
              </a:solidFill>
            </a:endParaRPr>
          </a:p>
          <a:p>
            <a:pPr algn="ctr">
              <a:buClr>
                <a:schemeClr val="accent2"/>
              </a:buClr>
            </a:pPr>
            <a:r>
              <a:rPr lang="de-DE" sz="1000" b="1">
                <a:solidFill>
                  <a:srgbClr val="000000"/>
                </a:solidFill>
              </a:rPr>
              <a:t> (DD)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42907C5B-78CE-4950-8184-94E2DEF25B91}"/>
              </a:ext>
            </a:extLst>
          </p:cNvPr>
          <p:cNvSpPr txBox="1"/>
          <p:nvPr/>
        </p:nvSpPr>
        <p:spPr>
          <a:xfrm>
            <a:off x="944691" y="941412"/>
            <a:ext cx="921371" cy="461665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>
              <a:buClr>
                <a:schemeClr val="accent2"/>
              </a:buClr>
            </a:pPr>
            <a:r>
              <a:rPr lang="de-DE" sz="1000" b="1">
                <a:solidFill>
                  <a:srgbClr val="000000"/>
                </a:solidFill>
              </a:rPr>
              <a:t>1 Working </a:t>
            </a:r>
            <a:r>
              <a:rPr lang="de-DE" sz="1000" b="1" err="1">
                <a:solidFill>
                  <a:srgbClr val="000000"/>
                </a:solidFill>
              </a:rPr>
              <a:t>day</a:t>
            </a:r>
            <a:endParaRPr lang="de-DE" sz="1000" b="1">
              <a:solidFill>
                <a:srgbClr val="000000"/>
              </a:solidFill>
            </a:endParaRPr>
          </a:p>
          <a:p>
            <a:pPr algn="ctr">
              <a:buClr>
                <a:schemeClr val="accent2"/>
              </a:buClr>
            </a:pPr>
            <a:r>
              <a:rPr lang="de-DE" sz="1000" b="1">
                <a:solidFill>
                  <a:srgbClr val="000000"/>
                </a:solidFill>
              </a:rPr>
              <a:t> (WD) after DD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EAF3E94C-6402-43C3-8BE2-3FCFB04BAFF4}"/>
              </a:ext>
            </a:extLst>
          </p:cNvPr>
          <p:cNvSpPr txBox="1"/>
          <p:nvPr/>
        </p:nvSpPr>
        <p:spPr>
          <a:xfrm>
            <a:off x="2587212" y="955445"/>
            <a:ext cx="468788" cy="461665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>
              <a:buClr>
                <a:schemeClr val="accent2"/>
              </a:buClr>
            </a:pPr>
            <a:r>
              <a:rPr lang="de-DE" sz="1000" b="1">
                <a:solidFill>
                  <a:srgbClr val="000000"/>
                </a:solidFill>
              </a:rPr>
              <a:t>10 WD</a:t>
            </a:r>
          </a:p>
          <a:p>
            <a:pPr algn="ctr">
              <a:buClr>
                <a:schemeClr val="accent2"/>
              </a:buClr>
            </a:pPr>
            <a:r>
              <a:rPr lang="de-DE" sz="1000" b="1">
                <a:solidFill>
                  <a:srgbClr val="000000"/>
                </a:solidFill>
              </a:rPr>
              <a:t> after DD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44968F2C-91F1-4255-971F-2FC8382B2FE3}"/>
              </a:ext>
            </a:extLst>
          </p:cNvPr>
          <p:cNvSpPr txBox="1"/>
          <p:nvPr/>
        </p:nvSpPr>
        <p:spPr>
          <a:xfrm>
            <a:off x="4293925" y="968163"/>
            <a:ext cx="841181" cy="30777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>
              <a:buClr>
                <a:schemeClr val="accent2"/>
              </a:buClr>
            </a:pPr>
            <a:r>
              <a:rPr lang="de-DE" sz="1000" b="1">
                <a:solidFill>
                  <a:srgbClr val="000000"/>
                </a:solidFill>
              </a:rPr>
              <a:t>17 WD</a:t>
            </a:r>
          </a:p>
          <a:p>
            <a:pPr algn="ctr">
              <a:buClr>
                <a:schemeClr val="accent2"/>
              </a:buClr>
            </a:pPr>
            <a:r>
              <a:rPr lang="de-DE" sz="1000" b="1">
                <a:solidFill>
                  <a:srgbClr val="000000"/>
                </a:solidFill>
              </a:rPr>
              <a:t> after DM</a:t>
            </a: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554E99B1-B008-4AAF-B70B-2DC8F6565DEF}"/>
              </a:ext>
            </a:extLst>
          </p:cNvPr>
          <p:cNvSpPr txBox="1"/>
          <p:nvPr/>
        </p:nvSpPr>
        <p:spPr>
          <a:xfrm>
            <a:off x="7019318" y="891204"/>
            <a:ext cx="799149" cy="461665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>
              <a:buClr>
                <a:schemeClr val="accent2"/>
              </a:buClr>
            </a:pPr>
            <a:r>
              <a:rPr lang="de-DE" sz="1000" b="1">
                <a:solidFill>
                  <a:srgbClr val="000000"/>
                </a:solidFill>
              </a:rPr>
              <a:t>At </a:t>
            </a:r>
            <a:r>
              <a:rPr lang="de-DE" sz="1000" b="1" err="1">
                <a:solidFill>
                  <a:srgbClr val="000000"/>
                </a:solidFill>
              </a:rPr>
              <a:t>the</a:t>
            </a:r>
            <a:r>
              <a:rPr lang="de-DE" sz="1000" b="1">
                <a:solidFill>
                  <a:srgbClr val="000000"/>
                </a:solidFill>
              </a:rPr>
              <a:t> </a:t>
            </a:r>
            <a:r>
              <a:rPr lang="de-DE" sz="1000" b="1" err="1">
                <a:solidFill>
                  <a:srgbClr val="000000"/>
                </a:solidFill>
              </a:rPr>
              <a:t>latest</a:t>
            </a:r>
            <a:r>
              <a:rPr lang="de-DE" sz="1000" b="1">
                <a:solidFill>
                  <a:srgbClr val="000000"/>
                </a:solidFill>
              </a:rPr>
              <a:t> 42 WD after DM</a:t>
            </a: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A2218E3E-B6AA-46D2-AA27-3D2E0CCEF5EA}"/>
              </a:ext>
            </a:extLst>
          </p:cNvPr>
          <p:cNvSpPr txBox="1"/>
          <p:nvPr/>
        </p:nvSpPr>
        <p:spPr>
          <a:xfrm>
            <a:off x="8403253" y="758814"/>
            <a:ext cx="773681" cy="769441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>
              <a:buClr>
                <a:schemeClr val="accent2"/>
              </a:buClr>
            </a:pPr>
            <a:r>
              <a:rPr lang="de-DE" sz="1000" b="1">
                <a:solidFill>
                  <a:srgbClr val="000000"/>
                </a:solidFill>
              </a:rPr>
              <a:t>3 </a:t>
            </a:r>
            <a:r>
              <a:rPr lang="de-DE" sz="1000" b="1" err="1">
                <a:solidFill>
                  <a:srgbClr val="000000"/>
                </a:solidFill>
              </a:rPr>
              <a:t>Calendar</a:t>
            </a:r>
            <a:r>
              <a:rPr lang="de-DE" sz="1000" b="1">
                <a:solidFill>
                  <a:srgbClr val="000000"/>
                </a:solidFill>
              </a:rPr>
              <a:t> </a:t>
            </a:r>
            <a:r>
              <a:rPr lang="de-DE" sz="1000" b="1" err="1">
                <a:solidFill>
                  <a:srgbClr val="000000"/>
                </a:solidFill>
              </a:rPr>
              <a:t>months</a:t>
            </a:r>
            <a:r>
              <a:rPr lang="de-DE" sz="1000" b="1">
                <a:solidFill>
                  <a:srgbClr val="000000"/>
                </a:solidFill>
              </a:rPr>
              <a:t> (CM) + 7 WD after DM</a:t>
            </a: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5F6A8BA4-FF69-4B7A-AB6B-346259244A5D}"/>
              </a:ext>
            </a:extLst>
          </p:cNvPr>
          <p:cNvSpPr txBox="1"/>
          <p:nvPr/>
        </p:nvSpPr>
        <p:spPr>
          <a:xfrm>
            <a:off x="10952456" y="1037549"/>
            <a:ext cx="1194229" cy="30777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>
              <a:buClr>
                <a:schemeClr val="accent2"/>
              </a:buClr>
            </a:pPr>
            <a:r>
              <a:rPr lang="de-DE" sz="1000" b="1">
                <a:solidFill>
                  <a:srgbClr val="000000"/>
                </a:solidFill>
              </a:rPr>
              <a:t>At </a:t>
            </a:r>
            <a:r>
              <a:rPr lang="de-DE" sz="1000" b="1" err="1">
                <a:solidFill>
                  <a:srgbClr val="000000"/>
                </a:solidFill>
              </a:rPr>
              <a:t>the</a:t>
            </a:r>
            <a:r>
              <a:rPr lang="de-DE" sz="1000" b="1">
                <a:solidFill>
                  <a:srgbClr val="000000"/>
                </a:solidFill>
              </a:rPr>
              <a:t> </a:t>
            </a:r>
            <a:r>
              <a:rPr lang="de-DE" sz="1000" b="1" err="1">
                <a:solidFill>
                  <a:srgbClr val="000000"/>
                </a:solidFill>
              </a:rPr>
              <a:t>latest</a:t>
            </a:r>
            <a:r>
              <a:rPr lang="de-DE" sz="1000" b="1">
                <a:solidFill>
                  <a:srgbClr val="000000"/>
                </a:solidFill>
              </a:rPr>
              <a:t> 4 CM + 10 WD after DM</a:t>
            </a: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E1803E7E-2137-4527-B28D-72EA5FB8AF41}"/>
              </a:ext>
            </a:extLst>
          </p:cNvPr>
          <p:cNvSpPr txBox="1"/>
          <p:nvPr/>
        </p:nvSpPr>
        <p:spPr>
          <a:xfrm>
            <a:off x="10595677" y="4219315"/>
            <a:ext cx="1449218" cy="1015663"/>
          </a:xfrm>
          <a:prstGeom prst="rect">
            <a:avLst/>
          </a:prstGeom>
          <a:solidFill>
            <a:srgbClr val="FFFFFF"/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>
            <a:spAutoFit/>
          </a:bodyPr>
          <a:lstStyle/>
          <a:p>
            <a:pPr algn="ctr">
              <a:buClr>
                <a:schemeClr val="accent2"/>
              </a:buClr>
            </a:pPr>
            <a:r>
              <a:rPr lang="en-US" sz="1100" b="1">
                <a:solidFill>
                  <a:srgbClr val="000000"/>
                </a:solidFill>
              </a:rPr>
              <a:t>The corrected billing of grid usage has been completed, and the delivery month has thus been finally billed</a:t>
            </a:r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8ED3F510-478D-413C-BA8C-DDEB62686279}"/>
              </a:ext>
            </a:extLst>
          </p:cNvPr>
          <p:cNvSpPr txBox="1"/>
          <p:nvPr/>
        </p:nvSpPr>
        <p:spPr>
          <a:xfrm>
            <a:off x="7256774" y="5576932"/>
            <a:ext cx="3033637" cy="677108"/>
          </a:xfrm>
          <a:prstGeom prst="rect">
            <a:avLst/>
          </a:prstGeom>
          <a:solidFill>
            <a:srgbClr val="FFFFFF"/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>
            <a:spAutoFit/>
          </a:bodyPr>
          <a:lstStyle/>
          <a:p>
            <a:pPr algn="ctr">
              <a:buClr>
                <a:schemeClr val="accent2"/>
              </a:buClr>
            </a:pPr>
            <a:r>
              <a:rPr lang="en-US" sz="1100" b="1">
                <a:solidFill>
                  <a:srgbClr val="000000"/>
                </a:solidFill>
              </a:rPr>
              <a:t>The final processing of the energy data for </a:t>
            </a:r>
            <a:br>
              <a:rPr lang="en-US" sz="1100" b="1">
                <a:solidFill>
                  <a:srgbClr val="000000"/>
                </a:solidFill>
              </a:rPr>
            </a:br>
            <a:r>
              <a:rPr lang="en-US" sz="1100" b="1">
                <a:solidFill>
                  <a:srgbClr val="000000"/>
                </a:solidFill>
              </a:rPr>
              <a:t>the delivery month has been completed.</a:t>
            </a:r>
          </a:p>
          <a:p>
            <a:pPr algn="ctr">
              <a:buClr>
                <a:schemeClr val="accent2"/>
              </a:buClr>
            </a:pPr>
            <a:r>
              <a:rPr lang="en-US" sz="1100" b="1">
                <a:solidFill>
                  <a:srgbClr val="000000"/>
                </a:solidFill>
              </a:rPr>
              <a:t>From this point on, the billing data for the </a:t>
            </a:r>
            <a:br>
              <a:rPr lang="en-US" sz="1100" b="1">
                <a:solidFill>
                  <a:srgbClr val="000000"/>
                </a:solidFill>
              </a:rPr>
            </a:br>
            <a:r>
              <a:rPr lang="en-US" sz="1100" b="1">
                <a:solidFill>
                  <a:srgbClr val="000000"/>
                </a:solidFill>
              </a:rPr>
              <a:t>correction billing will be sent.</a:t>
            </a: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3181CE40-B559-42EF-BC0E-43603B5E1A6B}"/>
              </a:ext>
            </a:extLst>
          </p:cNvPr>
          <p:cNvSpPr txBox="1"/>
          <p:nvPr/>
        </p:nvSpPr>
        <p:spPr>
          <a:xfrm>
            <a:off x="6618510" y="4291583"/>
            <a:ext cx="1650661" cy="507831"/>
          </a:xfrm>
          <a:prstGeom prst="rect">
            <a:avLst/>
          </a:prstGeom>
          <a:solidFill>
            <a:srgbClr val="FFFFFF"/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>
            <a:spAutoFit/>
          </a:bodyPr>
          <a:lstStyle/>
          <a:p>
            <a:pPr algn="ctr">
              <a:buClr>
                <a:schemeClr val="accent2"/>
              </a:buClr>
            </a:pPr>
            <a:r>
              <a:rPr lang="en-US" sz="1100" b="1">
                <a:solidFill>
                  <a:srgbClr val="000000"/>
                </a:solidFill>
              </a:rPr>
              <a:t>The grid usage billing for the delivery month has been completed.</a:t>
            </a: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274D54DA-DF65-4FBE-98DB-E668ACD1B0AA}"/>
              </a:ext>
            </a:extLst>
          </p:cNvPr>
          <p:cNvSpPr txBox="1"/>
          <p:nvPr/>
        </p:nvSpPr>
        <p:spPr>
          <a:xfrm>
            <a:off x="401022" y="5494187"/>
            <a:ext cx="1793154" cy="507831"/>
          </a:xfrm>
          <a:prstGeom prst="rect">
            <a:avLst/>
          </a:prstGeom>
          <a:solidFill>
            <a:srgbClr val="FFFFFF"/>
          </a:solidFill>
          <a:ln w="3175">
            <a:solidFill>
              <a:schemeClr val="tx1"/>
            </a:solidFill>
          </a:ln>
        </p:spPr>
        <p:txBody>
          <a:bodyPr wrap="square" lIns="0" tIns="0" rIns="0" bIns="0" rtlCol="0" anchor="ctr">
            <a:spAutoFit/>
          </a:bodyPr>
          <a:lstStyle/>
          <a:p>
            <a:pPr algn="ctr">
              <a:buClr>
                <a:schemeClr val="accent2"/>
              </a:buClr>
            </a:pPr>
            <a:r>
              <a:rPr lang="en-US" sz="1100" b="1" dirty="0">
                <a:solidFill>
                  <a:srgbClr val="000000"/>
                </a:solidFill>
              </a:rPr>
              <a:t>TfzE assignment and usage data records can now be transmitted to the BNB</a:t>
            </a:r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7E12A9CA-1B5D-4980-BF15-0800814AA38A}"/>
              </a:ext>
            </a:extLst>
          </p:cNvPr>
          <p:cNvSpPr txBox="1"/>
          <p:nvPr/>
        </p:nvSpPr>
        <p:spPr>
          <a:xfrm>
            <a:off x="2282077" y="4271402"/>
            <a:ext cx="1034651" cy="338554"/>
          </a:xfrm>
          <a:prstGeom prst="rect">
            <a:avLst/>
          </a:prstGeom>
          <a:solidFill>
            <a:srgbClr val="FFFFFF"/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>
            <a:spAutoFit/>
          </a:bodyPr>
          <a:lstStyle/>
          <a:p>
            <a:pPr algn="ctr">
              <a:buClr>
                <a:schemeClr val="accent2"/>
              </a:buClr>
            </a:pPr>
            <a:r>
              <a:rPr lang="de-DE" sz="1100" b="1" dirty="0">
                <a:solidFill>
                  <a:srgbClr val="000000"/>
                </a:solidFill>
              </a:rPr>
              <a:t>Fixation of the </a:t>
            </a:r>
            <a:r>
              <a:rPr lang="de-DE" sz="1100" b="1" dirty="0" err="1">
                <a:solidFill>
                  <a:srgbClr val="000000"/>
                </a:solidFill>
              </a:rPr>
              <a:t>assignment</a:t>
            </a:r>
            <a:endParaRPr lang="de-DE" sz="1100" b="1" dirty="0">
              <a:solidFill>
                <a:srgbClr val="000000"/>
              </a:solidFill>
            </a:endParaRPr>
          </a:p>
        </p:txBody>
      </p:sp>
      <p:sp>
        <p:nvSpPr>
          <p:cNvPr id="49" name="Pfeil: Chevron 48">
            <a:extLst>
              <a:ext uri="{FF2B5EF4-FFF2-40B4-BE49-F238E27FC236}">
                <a16:creationId xmlns:a16="http://schemas.microsoft.com/office/drawing/2014/main" id="{F76D3B9B-0D6F-40CF-8705-1442126527D9}"/>
              </a:ext>
            </a:extLst>
          </p:cNvPr>
          <p:cNvSpPr/>
          <p:nvPr/>
        </p:nvSpPr>
        <p:spPr>
          <a:xfrm>
            <a:off x="1343505" y="2266980"/>
            <a:ext cx="1487292" cy="616363"/>
          </a:xfrm>
          <a:prstGeom prst="chevron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buClr>
                <a:schemeClr val="accent2"/>
              </a:buClr>
            </a:pPr>
            <a:r>
              <a:rPr lang="de-DE" sz="1000">
                <a:solidFill>
                  <a:schemeClr val="bg1"/>
                </a:solidFill>
              </a:rPr>
              <a:t>TfzE-</a:t>
            </a:r>
            <a:r>
              <a:rPr lang="de-DE" sz="1000" err="1">
                <a:solidFill>
                  <a:schemeClr val="bg1"/>
                </a:solidFill>
              </a:rPr>
              <a:t>Usage</a:t>
            </a:r>
            <a:r>
              <a:rPr lang="de-DE" sz="1000">
                <a:solidFill>
                  <a:schemeClr val="bg1"/>
                </a:solidFill>
              </a:rPr>
              <a:t> Report 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462B708D-C5D7-412C-A8BB-A4D01C38155A}"/>
              </a:ext>
            </a:extLst>
          </p:cNvPr>
          <p:cNvSpPr/>
          <p:nvPr/>
        </p:nvSpPr>
        <p:spPr>
          <a:xfrm>
            <a:off x="2791044" y="1675939"/>
            <a:ext cx="1917693" cy="2319590"/>
          </a:xfrm>
          <a:prstGeom prst="rect">
            <a:avLst/>
          </a:prstGeom>
          <a:pattFill prst="wdUpDiag">
            <a:fgClr>
              <a:schemeClr val="accent3"/>
            </a:fgClr>
            <a:bgClr>
              <a:schemeClr val="bg1"/>
            </a:bgClr>
          </a:pattFill>
          <a:ln>
            <a:solidFill>
              <a:schemeClr val="dk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ctr">
              <a:buClr>
                <a:schemeClr val="accent2"/>
              </a:buClr>
            </a:pPr>
            <a:endParaRPr lang="de-DE" sz="2200">
              <a:solidFill>
                <a:schemeClr val="tx1"/>
              </a:solidFill>
            </a:endParaRPr>
          </a:p>
          <a:p>
            <a:pPr algn="ctr">
              <a:buClr>
                <a:schemeClr val="accent2"/>
              </a:buClr>
            </a:pPr>
            <a:r>
              <a:rPr lang="de-DE" sz="1600">
                <a:solidFill>
                  <a:schemeClr val="tx1"/>
                </a:solidFill>
              </a:rPr>
              <a:t>      Clearing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40479DF5-8AD4-4BAB-B8CC-CEFB8F91411C}"/>
              </a:ext>
            </a:extLst>
          </p:cNvPr>
          <p:cNvSpPr/>
          <p:nvPr/>
        </p:nvSpPr>
        <p:spPr>
          <a:xfrm>
            <a:off x="7423174" y="1675914"/>
            <a:ext cx="1347824" cy="2319590"/>
          </a:xfrm>
          <a:prstGeom prst="rect">
            <a:avLst/>
          </a:prstGeom>
          <a:pattFill prst="wdUpDiag">
            <a:fgClr>
              <a:schemeClr val="accent3"/>
            </a:fgClr>
            <a:bgClr>
              <a:schemeClr val="bg1"/>
            </a:bgClr>
          </a:pattFill>
          <a:ln>
            <a:solidFill>
              <a:schemeClr val="dk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ctr">
              <a:buClr>
                <a:schemeClr val="accent2"/>
              </a:buClr>
            </a:pPr>
            <a:endParaRPr lang="de-DE" sz="2600">
              <a:solidFill>
                <a:schemeClr val="tx1"/>
              </a:solidFill>
            </a:endParaRPr>
          </a:p>
          <a:p>
            <a:pPr algn="ctr">
              <a:buClr>
                <a:schemeClr val="accent2"/>
              </a:buClr>
            </a:pPr>
            <a:r>
              <a:rPr lang="de-DE" sz="1600">
                <a:solidFill>
                  <a:schemeClr val="tx1"/>
                </a:solidFill>
              </a:rPr>
              <a:t>Clearing</a:t>
            </a:r>
          </a:p>
        </p:txBody>
      </p:sp>
      <p:sp>
        <p:nvSpPr>
          <p:cNvPr id="55" name="Pfeil: Chevron 54">
            <a:extLst>
              <a:ext uri="{FF2B5EF4-FFF2-40B4-BE49-F238E27FC236}">
                <a16:creationId xmlns:a16="http://schemas.microsoft.com/office/drawing/2014/main" id="{B182C987-CD74-48C7-B1C0-D7085DC65B9E}"/>
              </a:ext>
            </a:extLst>
          </p:cNvPr>
          <p:cNvSpPr/>
          <p:nvPr/>
        </p:nvSpPr>
        <p:spPr>
          <a:xfrm>
            <a:off x="8782817" y="2622324"/>
            <a:ext cx="1494244" cy="630546"/>
          </a:xfrm>
          <a:prstGeom prst="chevron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buClr>
                <a:schemeClr val="accent2"/>
              </a:buClr>
            </a:pPr>
            <a:r>
              <a:rPr lang="de-DE" sz="1000" err="1">
                <a:solidFill>
                  <a:schemeClr val="bg1"/>
                </a:solidFill>
              </a:rPr>
              <a:t>Correction</a:t>
            </a:r>
            <a:r>
              <a:rPr lang="de-DE" sz="1000">
                <a:solidFill>
                  <a:schemeClr val="bg1"/>
                </a:solidFill>
              </a:rPr>
              <a:t> </a:t>
            </a:r>
            <a:r>
              <a:rPr lang="de-DE" sz="1000" err="1">
                <a:solidFill>
                  <a:schemeClr val="bg1"/>
                </a:solidFill>
              </a:rPr>
              <a:t>of</a:t>
            </a:r>
            <a:r>
              <a:rPr lang="de-DE" sz="1000">
                <a:solidFill>
                  <a:schemeClr val="bg1"/>
                </a:solidFill>
              </a:rPr>
              <a:t> </a:t>
            </a:r>
            <a:r>
              <a:rPr lang="de-DE" sz="1000" err="1">
                <a:solidFill>
                  <a:schemeClr val="bg1"/>
                </a:solidFill>
              </a:rPr>
              <a:t>delivery</a:t>
            </a:r>
            <a:r>
              <a:rPr lang="de-DE" sz="1000">
                <a:solidFill>
                  <a:schemeClr val="bg1"/>
                </a:solidFill>
              </a:rPr>
              <a:t> </a:t>
            </a:r>
            <a:r>
              <a:rPr lang="de-DE" sz="1000" err="1">
                <a:solidFill>
                  <a:schemeClr val="bg1"/>
                </a:solidFill>
              </a:rPr>
              <a:t>note</a:t>
            </a:r>
            <a:endParaRPr lang="de-DE" sz="1000">
              <a:solidFill>
                <a:schemeClr val="bg1"/>
              </a:solidFill>
            </a:endParaRPr>
          </a:p>
        </p:txBody>
      </p:sp>
      <p:sp>
        <p:nvSpPr>
          <p:cNvPr id="56" name="Pfeil: Chevron 55">
            <a:extLst>
              <a:ext uri="{FF2B5EF4-FFF2-40B4-BE49-F238E27FC236}">
                <a16:creationId xmlns:a16="http://schemas.microsoft.com/office/drawing/2014/main" id="{8B0104F6-F0A5-4ED3-86CE-FEE715898060}"/>
              </a:ext>
            </a:extLst>
          </p:cNvPr>
          <p:cNvSpPr/>
          <p:nvPr/>
        </p:nvSpPr>
        <p:spPr>
          <a:xfrm>
            <a:off x="10055077" y="2623171"/>
            <a:ext cx="1494243" cy="624320"/>
          </a:xfrm>
          <a:prstGeom prst="chevron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buClr>
                <a:schemeClr val="accent2"/>
              </a:buClr>
            </a:pPr>
            <a:r>
              <a:rPr lang="de-DE" sz="1000" err="1">
                <a:solidFill>
                  <a:schemeClr val="bg1"/>
                </a:solidFill>
              </a:rPr>
              <a:t>Correction</a:t>
            </a:r>
            <a:r>
              <a:rPr lang="de-DE" sz="1000">
                <a:solidFill>
                  <a:schemeClr val="bg1"/>
                </a:solidFill>
              </a:rPr>
              <a:t> </a:t>
            </a:r>
            <a:r>
              <a:rPr lang="de-DE" sz="1000" err="1">
                <a:solidFill>
                  <a:schemeClr val="bg1"/>
                </a:solidFill>
              </a:rPr>
              <a:t>of</a:t>
            </a:r>
            <a:r>
              <a:rPr lang="de-DE" sz="1000">
                <a:solidFill>
                  <a:schemeClr val="bg1"/>
                </a:solidFill>
              </a:rPr>
              <a:t> </a:t>
            </a:r>
            <a:r>
              <a:rPr lang="de-DE" sz="1000" err="1">
                <a:solidFill>
                  <a:schemeClr val="bg1"/>
                </a:solidFill>
              </a:rPr>
              <a:t>billing</a:t>
            </a:r>
            <a:endParaRPr lang="de-DE" sz="1000">
              <a:solidFill>
                <a:schemeClr val="bg1"/>
              </a:solidFill>
            </a:endParaRPr>
          </a:p>
        </p:txBody>
      </p:sp>
      <p:sp>
        <p:nvSpPr>
          <p:cNvPr id="52" name="Pfeil: Chevron 51">
            <a:extLst>
              <a:ext uri="{FF2B5EF4-FFF2-40B4-BE49-F238E27FC236}">
                <a16:creationId xmlns:a16="http://schemas.microsoft.com/office/drawing/2014/main" id="{A78C650C-2A4F-4284-BCDA-D4152DB19BE0}"/>
              </a:ext>
            </a:extLst>
          </p:cNvPr>
          <p:cNvSpPr/>
          <p:nvPr/>
        </p:nvSpPr>
        <p:spPr>
          <a:xfrm>
            <a:off x="5922249" y="2636841"/>
            <a:ext cx="1500924" cy="616028"/>
          </a:xfrm>
          <a:prstGeom prst="chevron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buClr>
                <a:schemeClr val="accent2"/>
              </a:buClr>
            </a:pPr>
            <a:r>
              <a:rPr lang="de-DE" sz="1000">
                <a:solidFill>
                  <a:schemeClr val="bg1"/>
                </a:solidFill>
              </a:rPr>
              <a:t>Billing</a:t>
            </a:r>
          </a:p>
        </p:txBody>
      </p: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FCC50092-D6E3-45B2-B14B-615726C9369D}"/>
              </a:ext>
            </a:extLst>
          </p:cNvPr>
          <p:cNvCxnSpPr>
            <a:stCxn id="19" idx="0"/>
          </p:cNvCxnSpPr>
          <p:nvPr/>
        </p:nvCxnSpPr>
        <p:spPr>
          <a:xfrm>
            <a:off x="1338332" y="1642919"/>
            <a:ext cx="33118" cy="3844956"/>
          </a:xfrm>
          <a:prstGeom prst="line">
            <a:avLst/>
          </a:prstGeom>
          <a:ln w="2222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Gerader Verbinder 85">
            <a:extLst>
              <a:ext uri="{FF2B5EF4-FFF2-40B4-BE49-F238E27FC236}">
                <a16:creationId xmlns:a16="http://schemas.microsoft.com/office/drawing/2014/main" id="{64DDBD27-84D1-4A6A-A198-85999E118383}"/>
              </a:ext>
            </a:extLst>
          </p:cNvPr>
          <p:cNvCxnSpPr>
            <a:stCxn id="18" idx="0"/>
            <a:endCxn id="15" idx="0"/>
          </p:cNvCxnSpPr>
          <p:nvPr/>
        </p:nvCxnSpPr>
        <p:spPr>
          <a:xfrm flipH="1">
            <a:off x="722352" y="1641109"/>
            <a:ext cx="8669" cy="2180681"/>
          </a:xfrm>
          <a:prstGeom prst="line">
            <a:avLst/>
          </a:prstGeom>
          <a:ln w="2222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Gerader Verbinder 88">
            <a:extLst>
              <a:ext uri="{FF2B5EF4-FFF2-40B4-BE49-F238E27FC236}">
                <a16:creationId xmlns:a16="http://schemas.microsoft.com/office/drawing/2014/main" id="{F9BFC54B-A78A-42E4-90ED-9DDD3DA3CD22}"/>
              </a:ext>
            </a:extLst>
          </p:cNvPr>
          <p:cNvCxnSpPr/>
          <p:nvPr/>
        </p:nvCxnSpPr>
        <p:spPr>
          <a:xfrm>
            <a:off x="2800980" y="1664436"/>
            <a:ext cx="0" cy="2572636"/>
          </a:xfrm>
          <a:prstGeom prst="line">
            <a:avLst/>
          </a:prstGeom>
          <a:ln w="254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Pfeil: nach rechts 63">
            <a:extLst>
              <a:ext uri="{FF2B5EF4-FFF2-40B4-BE49-F238E27FC236}">
                <a16:creationId xmlns:a16="http://schemas.microsoft.com/office/drawing/2014/main" id="{F011AA0A-2E7D-45DD-86BE-5E5AE41F0F06}"/>
              </a:ext>
            </a:extLst>
          </p:cNvPr>
          <p:cNvSpPr/>
          <p:nvPr/>
        </p:nvSpPr>
        <p:spPr>
          <a:xfrm>
            <a:off x="901888" y="1808999"/>
            <a:ext cx="3795030" cy="368144"/>
          </a:xfrm>
          <a:prstGeom prst="rightArrow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buClr>
                <a:schemeClr val="accent2"/>
              </a:buClr>
            </a:pPr>
            <a:r>
              <a:rPr lang="de-DE" sz="1200">
                <a:solidFill>
                  <a:schemeClr val="tx1"/>
                </a:solidFill>
              </a:rPr>
              <a:t>(Energy-) </a:t>
            </a:r>
            <a:r>
              <a:rPr lang="de-DE" sz="1200" err="1">
                <a:solidFill>
                  <a:schemeClr val="tx1"/>
                </a:solidFill>
              </a:rPr>
              <a:t>measurement</a:t>
            </a:r>
            <a:r>
              <a:rPr lang="de-DE" sz="1200">
                <a:solidFill>
                  <a:schemeClr val="tx1"/>
                </a:solidFill>
              </a:rPr>
              <a:t> </a:t>
            </a:r>
            <a:r>
              <a:rPr lang="de-DE" sz="1200" err="1">
                <a:solidFill>
                  <a:schemeClr val="tx1"/>
                </a:solidFill>
              </a:rPr>
              <a:t>data</a:t>
            </a:r>
            <a:endParaRPr lang="de-DE" sz="1200">
              <a:solidFill>
                <a:schemeClr val="tx1"/>
              </a:solidFill>
            </a:endParaRPr>
          </a:p>
        </p:txBody>
      </p:sp>
      <p:sp>
        <p:nvSpPr>
          <p:cNvPr id="50" name="Pfeil: Chevron 49">
            <a:extLst>
              <a:ext uri="{FF2B5EF4-FFF2-40B4-BE49-F238E27FC236}">
                <a16:creationId xmlns:a16="http://schemas.microsoft.com/office/drawing/2014/main" id="{9FD1229F-1DBC-4C5C-B788-35DAB602CC51}"/>
              </a:ext>
            </a:extLst>
          </p:cNvPr>
          <p:cNvSpPr/>
          <p:nvPr/>
        </p:nvSpPr>
        <p:spPr>
          <a:xfrm>
            <a:off x="1343504" y="3239255"/>
            <a:ext cx="3353413" cy="581624"/>
          </a:xfrm>
          <a:prstGeom prst="chevron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buClr>
                <a:schemeClr val="accent2"/>
              </a:buClr>
            </a:pPr>
            <a:r>
              <a:rPr lang="de-DE" sz="1200">
                <a:solidFill>
                  <a:schemeClr val="bg1"/>
                </a:solidFill>
              </a:rPr>
              <a:t>Reporting Vehicle </a:t>
            </a:r>
            <a:r>
              <a:rPr lang="de-DE" sz="1200" err="1">
                <a:solidFill>
                  <a:schemeClr val="bg1"/>
                </a:solidFill>
              </a:rPr>
              <a:t>Usage</a:t>
            </a:r>
            <a:r>
              <a:rPr lang="de-DE" sz="1200">
                <a:solidFill>
                  <a:schemeClr val="bg1"/>
                </a:solidFill>
              </a:rPr>
              <a:t> </a:t>
            </a:r>
          </a:p>
        </p:txBody>
      </p:sp>
      <p:cxnSp>
        <p:nvCxnSpPr>
          <p:cNvPr id="95" name="Gerader Verbinder 94">
            <a:extLst>
              <a:ext uri="{FF2B5EF4-FFF2-40B4-BE49-F238E27FC236}">
                <a16:creationId xmlns:a16="http://schemas.microsoft.com/office/drawing/2014/main" id="{C3C261F7-51E4-486E-83B6-40EF17260675}"/>
              </a:ext>
            </a:extLst>
          </p:cNvPr>
          <p:cNvCxnSpPr/>
          <p:nvPr/>
        </p:nvCxnSpPr>
        <p:spPr>
          <a:xfrm>
            <a:off x="4696917" y="1645097"/>
            <a:ext cx="11820" cy="2489580"/>
          </a:xfrm>
          <a:prstGeom prst="line">
            <a:avLst/>
          </a:prstGeom>
          <a:ln w="254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Pfeil: Chevron 50">
            <a:extLst>
              <a:ext uri="{FF2B5EF4-FFF2-40B4-BE49-F238E27FC236}">
                <a16:creationId xmlns:a16="http://schemas.microsoft.com/office/drawing/2014/main" id="{825594C8-17E1-46BC-AC99-EF35DD650D33}"/>
              </a:ext>
            </a:extLst>
          </p:cNvPr>
          <p:cNvSpPr/>
          <p:nvPr/>
        </p:nvSpPr>
        <p:spPr>
          <a:xfrm>
            <a:off x="4720555" y="2622323"/>
            <a:ext cx="1448527" cy="635822"/>
          </a:xfrm>
          <a:prstGeom prst="chevron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buClr>
                <a:schemeClr val="accent2"/>
              </a:buClr>
            </a:pPr>
            <a:r>
              <a:rPr lang="de-DE" sz="1000" err="1">
                <a:solidFill>
                  <a:schemeClr val="bg1"/>
                </a:solidFill>
              </a:rPr>
              <a:t>Delivery</a:t>
            </a:r>
            <a:r>
              <a:rPr lang="de-DE" sz="1000">
                <a:solidFill>
                  <a:schemeClr val="bg1"/>
                </a:solidFill>
              </a:rPr>
              <a:t> </a:t>
            </a:r>
            <a:r>
              <a:rPr lang="de-DE" sz="1000" err="1">
                <a:solidFill>
                  <a:schemeClr val="bg1"/>
                </a:solidFill>
              </a:rPr>
              <a:t>note</a:t>
            </a:r>
            <a:endParaRPr lang="de-DE" sz="1000">
              <a:solidFill>
                <a:schemeClr val="bg1"/>
              </a:solidFill>
            </a:endParaRPr>
          </a:p>
        </p:txBody>
      </p:sp>
      <p:sp>
        <p:nvSpPr>
          <p:cNvPr id="45" name="Textfeld 44">
            <a:extLst>
              <a:ext uri="{FF2B5EF4-FFF2-40B4-BE49-F238E27FC236}">
                <a16:creationId xmlns:a16="http://schemas.microsoft.com/office/drawing/2014/main" id="{1786D6CF-4DC5-4781-9E6D-ECD2D12308C6}"/>
              </a:ext>
            </a:extLst>
          </p:cNvPr>
          <p:cNvSpPr txBox="1"/>
          <p:nvPr/>
        </p:nvSpPr>
        <p:spPr>
          <a:xfrm>
            <a:off x="3484982" y="4237070"/>
            <a:ext cx="2694975" cy="1015663"/>
          </a:xfrm>
          <a:prstGeom prst="rect">
            <a:avLst/>
          </a:prstGeom>
          <a:solidFill>
            <a:srgbClr val="FFFFFF"/>
          </a:solidFill>
          <a:ln w="3175">
            <a:solidFill>
              <a:schemeClr val="tx1"/>
            </a:solidFill>
          </a:ln>
        </p:spPr>
        <p:txBody>
          <a:bodyPr wrap="square" lIns="0" tIns="0" rIns="0" bIns="0" rtlCol="0" anchor="ctr">
            <a:spAutoFit/>
          </a:bodyPr>
          <a:lstStyle/>
          <a:p>
            <a:pPr algn="ctr">
              <a:buClr>
                <a:schemeClr val="accent2"/>
              </a:buClr>
            </a:pPr>
            <a:r>
              <a:rPr lang="en-US" sz="1100" b="1">
                <a:solidFill>
                  <a:srgbClr val="000000"/>
                </a:solidFill>
              </a:rPr>
              <a:t>The processing of the usage data for the delivery month is complete. The billing data is sent from this point onwards. Metered data (energy and/or GPS) received at a later date will result in a correction bill</a:t>
            </a:r>
            <a:r>
              <a:rPr lang="de-DE" sz="1100" b="1">
                <a:solidFill>
                  <a:srgbClr val="000000"/>
                </a:solidFill>
              </a:rPr>
              <a:t>.</a:t>
            </a:r>
          </a:p>
        </p:txBody>
      </p:sp>
      <p:cxnSp>
        <p:nvCxnSpPr>
          <p:cNvPr id="99" name="Gerader Verbinder 98">
            <a:extLst>
              <a:ext uri="{FF2B5EF4-FFF2-40B4-BE49-F238E27FC236}">
                <a16:creationId xmlns:a16="http://schemas.microsoft.com/office/drawing/2014/main" id="{5D1BF791-8955-4F3A-9C71-207D40BC53AA}"/>
              </a:ext>
            </a:extLst>
          </p:cNvPr>
          <p:cNvCxnSpPr>
            <a:cxnSpLocks/>
            <a:endCxn id="37" idx="0"/>
          </p:cNvCxnSpPr>
          <p:nvPr/>
        </p:nvCxnSpPr>
        <p:spPr>
          <a:xfrm>
            <a:off x="7422772" y="1675195"/>
            <a:ext cx="21069" cy="2616388"/>
          </a:xfrm>
          <a:prstGeom prst="line">
            <a:avLst/>
          </a:prstGeom>
          <a:ln w="254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Pfeil: nach rechts 47">
            <a:extLst>
              <a:ext uri="{FF2B5EF4-FFF2-40B4-BE49-F238E27FC236}">
                <a16:creationId xmlns:a16="http://schemas.microsoft.com/office/drawing/2014/main" id="{E3E98AD0-347B-4763-BB7D-E433D8FF0FAE}"/>
              </a:ext>
            </a:extLst>
          </p:cNvPr>
          <p:cNvSpPr/>
          <p:nvPr/>
        </p:nvSpPr>
        <p:spPr>
          <a:xfrm>
            <a:off x="4733991" y="1804519"/>
            <a:ext cx="4037007" cy="368144"/>
          </a:xfrm>
          <a:prstGeom prst="rightArrow">
            <a:avLst/>
          </a:prstGeom>
          <a:solidFill>
            <a:srgbClr val="84CF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buClr>
                <a:schemeClr val="accent2"/>
              </a:buClr>
            </a:pPr>
            <a:r>
              <a:rPr lang="de-DE" sz="1200">
                <a:solidFill>
                  <a:schemeClr val="tx1"/>
                </a:solidFill>
              </a:rPr>
              <a:t>(Energy-) </a:t>
            </a:r>
            <a:r>
              <a:rPr lang="de-DE" sz="1200" err="1">
                <a:solidFill>
                  <a:schemeClr val="tx1"/>
                </a:solidFill>
              </a:rPr>
              <a:t>measurement</a:t>
            </a:r>
            <a:r>
              <a:rPr lang="de-DE" sz="1200">
                <a:solidFill>
                  <a:schemeClr val="tx1"/>
                </a:solidFill>
              </a:rPr>
              <a:t> </a:t>
            </a:r>
            <a:r>
              <a:rPr lang="de-DE" sz="1200" err="1">
                <a:solidFill>
                  <a:schemeClr val="tx1"/>
                </a:solidFill>
              </a:rPr>
              <a:t>data</a:t>
            </a:r>
            <a:endParaRPr lang="de-DE" sz="1200">
              <a:solidFill>
                <a:schemeClr val="tx1"/>
              </a:solidFill>
            </a:endParaRPr>
          </a:p>
        </p:txBody>
      </p:sp>
      <p:cxnSp>
        <p:nvCxnSpPr>
          <p:cNvPr id="101" name="Gerader Verbinder 100">
            <a:extLst>
              <a:ext uri="{FF2B5EF4-FFF2-40B4-BE49-F238E27FC236}">
                <a16:creationId xmlns:a16="http://schemas.microsoft.com/office/drawing/2014/main" id="{8EC506EF-9EA7-4570-9893-1AA53AB3FD78}"/>
              </a:ext>
            </a:extLst>
          </p:cNvPr>
          <p:cNvCxnSpPr/>
          <p:nvPr/>
        </p:nvCxnSpPr>
        <p:spPr>
          <a:xfrm>
            <a:off x="8778913" y="1675195"/>
            <a:ext cx="0" cy="3812680"/>
          </a:xfrm>
          <a:prstGeom prst="line">
            <a:avLst/>
          </a:prstGeom>
          <a:ln w="254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Gerader Verbinder 102">
            <a:extLst>
              <a:ext uri="{FF2B5EF4-FFF2-40B4-BE49-F238E27FC236}">
                <a16:creationId xmlns:a16="http://schemas.microsoft.com/office/drawing/2014/main" id="{6902E4AD-7495-4C53-8134-CBA63C651D21}"/>
              </a:ext>
            </a:extLst>
          </p:cNvPr>
          <p:cNvCxnSpPr>
            <a:cxnSpLocks/>
            <a:stCxn id="23" idx="0"/>
          </p:cNvCxnSpPr>
          <p:nvPr/>
        </p:nvCxnSpPr>
        <p:spPr>
          <a:xfrm>
            <a:off x="11546736" y="1689600"/>
            <a:ext cx="1" cy="2445077"/>
          </a:xfrm>
          <a:prstGeom prst="line">
            <a:avLst/>
          </a:prstGeom>
          <a:ln w="2222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872CD0B5-405E-3ED4-28CA-26F47716B8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03.06.2026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0F72601C-60ED-D870-D1DF-FDFFD5BFB452}"/>
              </a:ext>
            </a:extLst>
          </p:cNvPr>
          <p:cNvSpPr txBox="1"/>
          <p:nvPr/>
        </p:nvSpPr>
        <p:spPr>
          <a:xfrm>
            <a:off x="13749" y="8361"/>
            <a:ext cx="2351315" cy="227994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>
            <a:spAutoFit/>
          </a:bodyPr>
          <a:lstStyle/>
          <a:p>
            <a:pPr marL="180000" indent="-180000" algn="l">
              <a:buClr>
                <a:schemeClr val="accent2"/>
              </a:buClr>
              <a:buFont typeface="+mn-lt"/>
              <a:buChar char="•"/>
            </a:pPr>
            <a:endParaRPr lang="de-DE" sz="1600"/>
          </a:p>
        </p:txBody>
      </p:sp>
    </p:spTree>
    <p:extLst>
      <p:ext uri="{BB962C8B-B14F-4D97-AF65-F5344CB8AC3E}">
        <p14:creationId xmlns:p14="http://schemas.microsoft.com/office/powerpoint/2010/main" val="47422253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A2FACA-E923-09CB-5162-70DCA5DE5BF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8E3E5AC-2C66-D308-D61E-80968B7D28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teps to implement the new Grid access model</a:t>
            </a:r>
            <a:br>
              <a:rPr lang="en-US"/>
            </a:br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B5D98B4-2882-E01A-432E-86F041C05D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03.06.2026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56AB33D-48BD-954B-D4F0-F54E36A95B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D9F7D-0C28-4C21-AA99-7C67E34F632A}" type="slidenum">
              <a:rPr lang="de-DE" smtClean="0"/>
              <a:t>6</a:t>
            </a:fld>
            <a:endParaRPr lang="de-DE"/>
          </a:p>
        </p:txBody>
      </p:sp>
      <p:sp>
        <p:nvSpPr>
          <p:cNvPr id="5" name="Shape 8">
            <a:extLst>
              <a:ext uri="{FF2B5EF4-FFF2-40B4-BE49-F238E27FC236}">
                <a16:creationId xmlns:a16="http://schemas.microsoft.com/office/drawing/2014/main" id="{0ED8FDFA-676A-29A8-7E79-7ABD268C3790}"/>
              </a:ext>
            </a:extLst>
          </p:cNvPr>
          <p:cNvSpPr/>
          <p:nvPr/>
        </p:nvSpPr>
        <p:spPr>
          <a:xfrm>
            <a:off x="444500" y="1391920"/>
            <a:ext cx="2560320" cy="1188720"/>
          </a:xfrm>
          <a:prstGeom prst="rect">
            <a:avLst/>
          </a:prstGeom>
          <a:solidFill>
            <a:srgbClr val="F0F3F5"/>
          </a:solidFill>
          <a:ln w="12700">
            <a:solidFill>
              <a:srgbClr val="D5D8DD"/>
            </a:solidFill>
            <a:prstDash val="solid"/>
          </a:ln>
        </p:spPr>
        <p:txBody>
          <a:bodyPr/>
          <a:lstStyle/>
          <a:p>
            <a:endParaRPr lang="de-DE"/>
          </a:p>
        </p:txBody>
      </p:sp>
      <p:sp>
        <p:nvSpPr>
          <p:cNvPr id="6" name="Shape 9">
            <a:extLst>
              <a:ext uri="{FF2B5EF4-FFF2-40B4-BE49-F238E27FC236}">
                <a16:creationId xmlns:a16="http://schemas.microsoft.com/office/drawing/2014/main" id="{F2916C03-6FE4-BE74-AC1A-B1932DE11B29}"/>
              </a:ext>
            </a:extLst>
          </p:cNvPr>
          <p:cNvSpPr/>
          <p:nvPr/>
        </p:nvSpPr>
        <p:spPr>
          <a:xfrm>
            <a:off x="444500" y="1391920"/>
            <a:ext cx="2560320" cy="73152"/>
          </a:xfrm>
          <a:prstGeom prst="rect">
            <a:avLst/>
          </a:prstGeom>
          <a:solidFill>
            <a:srgbClr val="EC0016"/>
          </a:solidFill>
          <a:ln w="12700">
            <a:solidFill>
              <a:srgbClr val="EC0016"/>
            </a:solidFill>
            <a:prstDash val="solid"/>
          </a:ln>
        </p:spPr>
        <p:txBody>
          <a:bodyPr/>
          <a:lstStyle/>
          <a:p>
            <a:endParaRPr lang="de-DE"/>
          </a:p>
        </p:txBody>
      </p:sp>
      <p:sp>
        <p:nvSpPr>
          <p:cNvPr id="7" name="Text 10">
            <a:extLst>
              <a:ext uri="{FF2B5EF4-FFF2-40B4-BE49-F238E27FC236}">
                <a16:creationId xmlns:a16="http://schemas.microsoft.com/office/drawing/2014/main" id="{BB49535F-8F76-60CA-FD8A-153C8F4BF1F3}"/>
              </a:ext>
            </a:extLst>
          </p:cNvPr>
          <p:cNvSpPr/>
          <p:nvPr/>
        </p:nvSpPr>
        <p:spPr>
          <a:xfrm>
            <a:off x="444500" y="1556512"/>
            <a:ext cx="2560320" cy="34747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1800" b="1">
                <a:solidFill>
                  <a:srgbClr val="131821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Stipulation of regulatory authority</a:t>
            </a:r>
            <a:endParaRPr lang="en-US" sz="1800"/>
          </a:p>
        </p:txBody>
      </p:sp>
      <p:sp>
        <p:nvSpPr>
          <p:cNvPr id="8" name="Text 11">
            <a:extLst>
              <a:ext uri="{FF2B5EF4-FFF2-40B4-BE49-F238E27FC236}">
                <a16:creationId xmlns:a16="http://schemas.microsoft.com/office/drawing/2014/main" id="{7A8B29D0-8D31-ACE8-E6E5-976B441F94C0}"/>
              </a:ext>
            </a:extLst>
          </p:cNvPr>
          <p:cNvSpPr/>
          <p:nvPr/>
        </p:nvSpPr>
        <p:spPr>
          <a:xfrm>
            <a:off x="563880" y="1997210"/>
            <a:ext cx="2286000" cy="2743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1200" i="1" err="1">
                <a:solidFill>
                  <a:srgbClr val="3C414B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Bundesnetzagentur</a:t>
            </a:r>
            <a:endParaRPr lang="en-US" sz="1200"/>
          </a:p>
        </p:txBody>
      </p:sp>
      <p:sp>
        <p:nvSpPr>
          <p:cNvPr id="9" name="Text 12">
            <a:extLst>
              <a:ext uri="{FF2B5EF4-FFF2-40B4-BE49-F238E27FC236}">
                <a16:creationId xmlns:a16="http://schemas.microsoft.com/office/drawing/2014/main" id="{DD9FA79B-046E-E9CB-5848-F5AFE0222BDE}"/>
              </a:ext>
            </a:extLst>
          </p:cNvPr>
          <p:cNvSpPr/>
          <p:nvPr/>
        </p:nvSpPr>
        <p:spPr>
          <a:xfrm>
            <a:off x="563880" y="2271530"/>
            <a:ext cx="228600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ctr">
              <a:buNone/>
            </a:pPr>
            <a:r>
              <a:rPr lang="en-US" sz="1050">
                <a:solidFill>
                  <a:srgbClr val="3C414B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sets general framework</a:t>
            </a:r>
            <a:endParaRPr lang="en-US" sz="1050"/>
          </a:p>
        </p:txBody>
      </p:sp>
      <p:sp>
        <p:nvSpPr>
          <p:cNvPr id="10" name="Shape 13">
            <a:extLst>
              <a:ext uri="{FF2B5EF4-FFF2-40B4-BE49-F238E27FC236}">
                <a16:creationId xmlns:a16="http://schemas.microsoft.com/office/drawing/2014/main" id="{0FBD371D-7399-C732-E5AE-2E55A0CBFD1A}"/>
              </a:ext>
            </a:extLst>
          </p:cNvPr>
          <p:cNvSpPr/>
          <p:nvPr/>
        </p:nvSpPr>
        <p:spPr>
          <a:xfrm>
            <a:off x="3096260" y="1986280"/>
            <a:ext cx="1280160" cy="0"/>
          </a:xfrm>
          <a:prstGeom prst="line">
            <a:avLst/>
          </a:prstGeom>
          <a:noFill/>
          <a:ln w="38100">
            <a:solidFill>
              <a:schemeClr val="tx1"/>
            </a:solidFill>
            <a:prstDash val="solid"/>
            <a:tailEnd type="triangle"/>
          </a:ln>
        </p:spPr>
        <p:txBody>
          <a:bodyPr/>
          <a:lstStyle/>
          <a:p>
            <a:endParaRPr lang="de-DE"/>
          </a:p>
        </p:txBody>
      </p:sp>
      <p:sp>
        <p:nvSpPr>
          <p:cNvPr id="11" name="Text 14">
            <a:extLst>
              <a:ext uri="{FF2B5EF4-FFF2-40B4-BE49-F238E27FC236}">
                <a16:creationId xmlns:a16="http://schemas.microsoft.com/office/drawing/2014/main" id="{D4E2C455-E752-DDC4-B0D0-25BD1A13B08C}"/>
              </a:ext>
            </a:extLst>
          </p:cNvPr>
          <p:cNvSpPr/>
          <p:nvPr/>
        </p:nvSpPr>
        <p:spPr>
          <a:xfrm>
            <a:off x="3096260" y="1574800"/>
            <a:ext cx="1325880" cy="2286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1100" b="1">
                <a:solidFill>
                  <a:srgbClr val="EC0016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to be specified</a:t>
            </a:r>
            <a:endParaRPr lang="en-US" sz="1100"/>
          </a:p>
        </p:txBody>
      </p:sp>
      <p:sp>
        <p:nvSpPr>
          <p:cNvPr id="13" name="Shape 16">
            <a:extLst>
              <a:ext uri="{FF2B5EF4-FFF2-40B4-BE49-F238E27FC236}">
                <a16:creationId xmlns:a16="http://schemas.microsoft.com/office/drawing/2014/main" id="{DFDA5E91-7E40-CA98-AD50-06D79AC23D26}"/>
              </a:ext>
            </a:extLst>
          </p:cNvPr>
          <p:cNvSpPr/>
          <p:nvPr/>
        </p:nvSpPr>
        <p:spPr>
          <a:xfrm>
            <a:off x="4742180" y="1391920"/>
            <a:ext cx="2743200" cy="1188720"/>
          </a:xfrm>
          <a:prstGeom prst="rect">
            <a:avLst/>
          </a:prstGeom>
          <a:solidFill>
            <a:srgbClr val="F0F3F5"/>
          </a:solidFill>
          <a:ln w="28575">
            <a:solidFill>
              <a:schemeClr val="accent2"/>
            </a:solidFill>
            <a:prstDash val="solid"/>
          </a:ln>
        </p:spPr>
        <p:txBody>
          <a:bodyPr/>
          <a:lstStyle/>
          <a:p>
            <a:endParaRPr lang="de-DE"/>
          </a:p>
        </p:txBody>
      </p:sp>
      <p:sp>
        <p:nvSpPr>
          <p:cNvPr id="14" name="Shape 17">
            <a:extLst>
              <a:ext uri="{FF2B5EF4-FFF2-40B4-BE49-F238E27FC236}">
                <a16:creationId xmlns:a16="http://schemas.microsoft.com/office/drawing/2014/main" id="{CDFCAD34-3B12-EEEF-15AF-6863D4AA90C7}"/>
              </a:ext>
            </a:extLst>
          </p:cNvPr>
          <p:cNvSpPr/>
          <p:nvPr/>
        </p:nvSpPr>
        <p:spPr>
          <a:xfrm>
            <a:off x="4742180" y="1391920"/>
            <a:ext cx="2743200" cy="91440"/>
          </a:xfrm>
          <a:prstGeom prst="rect">
            <a:avLst/>
          </a:prstGeom>
          <a:solidFill>
            <a:srgbClr val="EC0016"/>
          </a:solidFill>
          <a:ln w="12700">
            <a:solidFill>
              <a:srgbClr val="EC0016"/>
            </a:solidFill>
            <a:prstDash val="solid"/>
          </a:ln>
        </p:spPr>
        <p:txBody>
          <a:bodyPr/>
          <a:lstStyle/>
          <a:p>
            <a:endParaRPr lang="de-DE"/>
          </a:p>
        </p:txBody>
      </p:sp>
      <p:sp>
        <p:nvSpPr>
          <p:cNvPr id="16" name="Text 19">
            <a:extLst>
              <a:ext uri="{FF2B5EF4-FFF2-40B4-BE49-F238E27FC236}">
                <a16:creationId xmlns:a16="http://schemas.microsoft.com/office/drawing/2014/main" id="{67C8B8F0-2360-06CD-6D79-623E1F2DF826}"/>
              </a:ext>
            </a:extLst>
          </p:cNvPr>
          <p:cNvSpPr/>
          <p:nvPr/>
        </p:nvSpPr>
        <p:spPr>
          <a:xfrm>
            <a:off x="4742180" y="1530523"/>
            <a:ext cx="2743200" cy="32004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1600" b="1">
                <a:latin typeface="Arial" pitchFamily="34" charset="0"/>
                <a:ea typeface="Arial" pitchFamily="34" charset="-122"/>
                <a:cs typeface="Arial" pitchFamily="34" charset="-120"/>
              </a:rPr>
              <a:t>relevant parties</a:t>
            </a:r>
            <a:endParaRPr lang="en-US" sz="1600"/>
          </a:p>
        </p:txBody>
      </p:sp>
      <p:sp>
        <p:nvSpPr>
          <p:cNvPr id="17" name="Text 20">
            <a:extLst>
              <a:ext uri="{FF2B5EF4-FFF2-40B4-BE49-F238E27FC236}">
                <a16:creationId xmlns:a16="http://schemas.microsoft.com/office/drawing/2014/main" id="{C73C98CE-D973-E211-F900-609531D9CC20}"/>
              </a:ext>
            </a:extLst>
          </p:cNvPr>
          <p:cNvSpPr/>
          <p:nvPr/>
        </p:nvSpPr>
        <p:spPr>
          <a:xfrm>
            <a:off x="4861560" y="1920894"/>
            <a:ext cx="246888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ctr">
              <a:buNone/>
            </a:pPr>
            <a:r>
              <a:rPr lang="en-US" sz="1100" i="1">
                <a:latin typeface="Arial" pitchFamily="34" charset="0"/>
                <a:ea typeface="Arial" pitchFamily="34" charset="-122"/>
                <a:cs typeface="Arial" pitchFamily="34" charset="-120"/>
              </a:rPr>
              <a:t>some questions were discussed with Railway Undertakings, energy suppliers and data service providers</a:t>
            </a:r>
            <a:endParaRPr lang="en-US" sz="1100"/>
          </a:p>
        </p:txBody>
      </p:sp>
      <p:sp>
        <p:nvSpPr>
          <p:cNvPr id="18" name="Shape 21">
            <a:extLst>
              <a:ext uri="{FF2B5EF4-FFF2-40B4-BE49-F238E27FC236}">
                <a16:creationId xmlns:a16="http://schemas.microsoft.com/office/drawing/2014/main" id="{F0509086-8471-C888-54A9-C82921042611}"/>
              </a:ext>
            </a:extLst>
          </p:cNvPr>
          <p:cNvSpPr/>
          <p:nvPr/>
        </p:nvSpPr>
        <p:spPr>
          <a:xfrm>
            <a:off x="7576820" y="1986280"/>
            <a:ext cx="1280160" cy="0"/>
          </a:xfrm>
          <a:prstGeom prst="line">
            <a:avLst/>
          </a:prstGeom>
          <a:noFill/>
          <a:ln w="38100">
            <a:solidFill>
              <a:schemeClr val="tx1"/>
            </a:solidFill>
            <a:prstDash val="solid"/>
            <a:tailEnd type="triangle"/>
          </a:ln>
        </p:spPr>
        <p:txBody>
          <a:bodyPr/>
          <a:lstStyle/>
          <a:p>
            <a:endParaRPr lang="de-DE"/>
          </a:p>
        </p:txBody>
      </p:sp>
      <p:sp>
        <p:nvSpPr>
          <p:cNvPr id="19" name="Text 22">
            <a:extLst>
              <a:ext uri="{FF2B5EF4-FFF2-40B4-BE49-F238E27FC236}">
                <a16:creationId xmlns:a16="http://schemas.microsoft.com/office/drawing/2014/main" id="{4D672ED8-FE24-E8C4-5750-C2CD1C91D155}"/>
              </a:ext>
            </a:extLst>
          </p:cNvPr>
          <p:cNvSpPr/>
          <p:nvPr/>
        </p:nvSpPr>
        <p:spPr>
          <a:xfrm>
            <a:off x="7576820" y="1574800"/>
            <a:ext cx="1325880" cy="2286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1100" b="1">
                <a:solidFill>
                  <a:srgbClr val="EC0016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implemented</a:t>
            </a:r>
            <a:endParaRPr lang="en-US" sz="1100"/>
          </a:p>
        </p:txBody>
      </p:sp>
      <p:sp>
        <p:nvSpPr>
          <p:cNvPr id="21" name="Shape 24">
            <a:extLst>
              <a:ext uri="{FF2B5EF4-FFF2-40B4-BE49-F238E27FC236}">
                <a16:creationId xmlns:a16="http://schemas.microsoft.com/office/drawing/2014/main" id="{534F0136-24B5-058D-E33A-94EBEAB57512}"/>
              </a:ext>
            </a:extLst>
          </p:cNvPr>
          <p:cNvSpPr/>
          <p:nvPr/>
        </p:nvSpPr>
        <p:spPr>
          <a:xfrm>
            <a:off x="9039860" y="1391920"/>
            <a:ext cx="2651760" cy="1188720"/>
          </a:xfrm>
          <a:prstGeom prst="rect">
            <a:avLst/>
          </a:prstGeom>
          <a:solidFill>
            <a:srgbClr val="F0F3F5"/>
          </a:solidFill>
          <a:ln w="12700">
            <a:solidFill>
              <a:srgbClr val="D5D8DD"/>
            </a:solidFill>
            <a:prstDash val="solid"/>
          </a:ln>
        </p:spPr>
        <p:txBody>
          <a:bodyPr/>
          <a:lstStyle/>
          <a:p>
            <a:endParaRPr lang="de-DE"/>
          </a:p>
        </p:txBody>
      </p:sp>
      <p:sp>
        <p:nvSpPr>
          <p:cNvPr id="22" name="Shape 25">
            <a:extLst>
              <a:ext uri="{FF2B5EF4-FFF2-40B4-BE49-F238E27FC236}">
                <a16:creationId xmlns:a16="http://schemas.microsoft.com/office/drawing/2014/main" id="{465D675A-E706-9BE0-826C-AAD75965E83F}"/>
              </a:ext>
            </a:extLst>
          </p:cNvPr>
          <p:cNvSpPr/>
          <p:nvPr/>
        </p:nvSpPr>
        <p:spPr>
          <a:xfrm>
            <a:off x="9039860" y="1391920"/>
            <a:ext cx="2651760" cy="73152"/>
          </a:xfrm>
          <a:prstGeom prst="rect">
            <a:avLst/>
          </a:prstGeom>
          <a:solidFill>
            <a:srgbClr val="EC0016"/>
          </a:solidFill>
          <a:ln w="12700">
            <a:solidFill>
              <a:srgbClr val="EC0016"/>
            </a:solidFill>
            <a:prstDash val="solid"/>
          </a:ln>
        </p:spPr>
        <p:txBody>
          <a:bodyPr/>
          <a:lstStyle/>
          <a:p>
            <a:endParaRPr lang="de-DE"/>
          </a:p>
        </p:txBody>
      </p:sp>
      <p:sp>
        <p:nvSpPr>
          <p:cNvPr id="23" name="Text 26">
            <a:extLst>
              <a:ext uri="{FF2B5EF4-FFF2-40B4-BE49-F238E27FC236}">
                <a16:creationId xmlns:a16="http://schemas.microsoft.com/office/drawing/2014/main" id="{C0A04253-248F-5876-6F22-5E194D12CF81}"/>
              </a:ext>
            </a:extLst>
          </p:cNvPr>
          <p:cNvSpPr/>
          <p:nvPr/>
        </p:nvSpPr>
        <p:spPr>
          <a:xfrm>
            <a:off x="9039860" y="1556512"/>
            <a:ext cx="2651760" cy="34747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1800" b="1" dirty="0">
                <a:solidFill>
                  <a:srgbClr val="131821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DB Energie</a:t>
            </a:r>
            <a:endParaRPr lang="en-US" sz="1800" dirty="0"/>
          </a:p>
        </p:txBody>
      </p:sp>
      <p:sp>
        <p:nvSpPr>
          <p:cNvPr id="24" name="Text 27">
            <a:extLst>
              <a:ext uri="{FF2B5EF4-FFF2-40B4-BE49-F238E27FC236}">
                <a16:creationId xmlns:a16="http://schemas.microsoft.com/office/drawing/2014/main" id="{2523D84C-8565-69AF-63C9-6FFAD5C29FBF}"/>
              </a:ext>
            </a:extLst>
          </p:cNvPr>
          <p:cNvSpPr/>
          <p:nvPr/>
        </p:nvSpPr>
        <p:spPr>
          <a:xfrm>
            <a:off x="9177020" y="1922272"/>
            <a:ext cx="2377440" cy="2743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1200" i="1" dirty="0">
                <a:solidFill>
                  <a:srgbClr val="3C414B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Traction grid operator</a:t>
            </a:r>
            <a:endParaRPr lang="en-US" sz="1200" dirty="0"/>
          </a:p>
        </p:txBody>
      </p:sp>
      <p:sp>
        <p:nvSpPr>
          <p:cNvPr id="26" name="Shape 29">
            <a:extLst>
              <a:ext uri="{FF2B5EF4-FFF2-40B4-BE49-F238E27FC236}">
                <a16:creationId xmlns:a16="http://schemas.microsoft.com/office/drawing/2014/main" id="{997AAAE5-2C5D-F2FC-6EA8-C046ED4BCCD1}"/>
              </a:ext>
            </a:extLst>
          </p:cNvPr>
          <p:cNvSpPr/>
          <p:nvPr/>
        </p:nvSpPr>
        <p:spPr>
          <a:xfrm>
            <a:off x="444500" y="2854960"/>
            <a:ext cx="2743200" cy="2194560"/>
          </a:xfrm>
          <a:prstGeom prst="rect">
            <a:avLst/>
          </a:prstGeom>
          <a:solidFill>
            <a:srgbClr val="FFFFFF"/>
          </a:solidFill>
          <a:ln w="12700">
            <a:solidFill>
              <a:srgbClr val="D5D8DD"/>
            </a:solidFill>
            <a:prstDash val="solid"/>
          </a:ln>
        </p:spPr>
        <p:txBody>
          <a:bodyPr/>
          <a:lstStyle/>
          <a:p>
            <a:endParaRPr lang="de-DE"/>
          </a:p>
        </p:txBody>
      </p:sp>
      <p:sp>
        <p:nvSpPr>
          <p:cNvPr id="28" name="Shape 31">
            <a:extLst>
              <a:ext uri="{FF2B5EF4-FFF2-40B4-BE49-F238E27FC236}">
                <a16:creationId xmlns:a16="http://schemas.microsoft.com/office/drawing/2014/main" id="{A43AF29C-F538-E7B1-BF24-43E160273C16}"/>
              </a:ext>
            </a:extLst>
          </p:cNvPr>
          <p:cNvSpPr/>
          <p:nvPr/>
        </p:nvSpPr>
        <p:spPr>
          <a:xfrm>
            <a:off x="645668" y="3019552"/>
            <a:ext cx="365760" cy="365760"/>
          </a:xfrm>
          <a:prstGeom prst="ellipse">
            <a:avLst/>
          </a:prstGeom>
          <a:solidFill>
            <a:srgbClr val="EC0016"/>
          </a:solidFill>
          <a:ln w="12700">
            <a:solidFill>
              <a:srgbClr val="EC0016"/>
            </a:solidFill>
            <a:prstDash val="solid"/>
          </a:ln>
        </p:spPr>
        <p:txBody>
          <a:bodyPr/>
          <a:lstStyle/>
          <a:p>
            <a:endParaRPr lang="de-DE"/>
          </a:p>
        </p:txBody>
      </p:sp>
      <p:sp>
        <p:nvSpPr>
          <p:cNvPr id="29" name="Text 32">
            <a:extLst>
              <a:ext uri="{FF2B5EF4-FFF2-40B4-BE49-F238E27FC236}">
                <a16:creationId xmlns:a16="http://schemas.microsoft.com/office/drawing/2014/main" id="{9D843C24-1D67-F80A-EED0-4D98CDBE2715}"/>
              </a:ext>
            </a:extLst>
          </p:cNvPr>
          <p:cNvSpPr/>
          <p:nvPr/>
        </p:nvSpPr>
        <p:spPr>
          <a:xfrm>
            <a:off x="645668" y="3019552"/>
            <a:ext cx="36576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1400" b="1">
                <a:solidFill>
                  <a:srgbClr val="FFFFFF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1</a:t>
            </a:r>
            <a:endParaRPr lang="en-US" sz="1400"/>
          </a:p>
        </p:txBody>
      </p:sp>
      <p:sp>
        <p:nvSpPr>
          <p:cNvPr id="30" name="Text 33">
            <a:extLst>
              <a:ext uri="{FF2B5EF4-FFF2-40B4-BE49-F238E27FC236}">
                <a16:creationId xmlns:a16="http://schemas.microsoft.com/office/drawing/2014/main" id="{6FD99960-C2B1-D2DB-3984-EF698CAF5C3E}"/>
              </a:ext>
            </a:extLst>
          </p:cNvPr>
          <p:cNvSpPr/>
          <p:nvPr/>
        </p:nvSpPr>
        <p:spPr>
          <a:xfrm>
            <a:off x="1084580" y="3019552"/>
            <a:ext cx="201168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1400" b="1">
                <a:solidFill>
                  <a:srgbClr val="131821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Contract agreements</a:t>
            </a:r>
            <a:endParaRPr lang="en-US" sz="1400"/>
          </a:p>
        </p:txBody>
      </p:sp>
      <p:sp>
        <p:nvSpPr>
          <p:cNvPr id="31" name="Text 34">
            <a:extLst>
              <a:ext uri="{FF2B5EF4-FFF2-40B4-BE49-F238E27FC236}">
                <a16:creationId xmlns:a16="http://schemas.microsoft.com/office/drawing/2014/main" id="{F3EE2EAE-F784-31F6-AC3A-DE725413822B}"/>
              </a:ext>
            </a:extLst>
          </p:cNvPr>
          <p:cNvSpPr/>
          <p:nvPr/>
        </p:nvSpPr>
        <p:spPr>
          <a:xfrm>
            <a:off x="673100" y="3495040"/>
            <a:ext cx="2377440" cy="146304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342900" indent="-342900">
              <a:spcAft>
                <a:spcPts val="400"/>
              </a:spcAft>
              <a:buSzPct val="100000"/>
              <a:buChar char="■"/>
            </a:pPr>
            <a:r>
              <a:rPr lang="en-US" sz="1100">
                <a:solidFill>
                  <a:srgbClr val="3C414B"/>
                </a:solidFill>
                <a:latin typeface="Arial" panose="020B0604020202020204" pitchFamily="34" charset="0"/>
                <a:ea typeface="Arial" pitchFamily="34" charset="-122"/>
                <a:cs typeface="Arial" panose="020B0604020202020204" pitchFamily="34" charset="0"/>
              </a:rPr>
              <a:t>DB Energie hat send the new contract agreements starting 1 July 2026 to all market players.</a:t>
            </a:r>
          </a:p>
          <a:p>
            <a:pPr marL="342900" indent="-342900">
              <a:spcAft>
                <a:spcPts val="400"/>
              </a:spcAft>
              <a:buSzPct val="100000"/>
              <a:buChar char="■"/>
            </a:pPr>
            <a:r>
              <a:rPr lang="en-US" sz="1100">
                <a:solidFill>
                  <a:srgbClr val="3C41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procedures are known and can be implemented.</a:t>
            </a:r>
            <a:endParaRPr lang="en-US" sz="11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Shape 35">
            <a:extLst>
              <a:ext uri="{FF2B5EF4-FFF2-40B4-BE49-F238E27FC236}">
                <a16:creationId xmlns:a16="http://schemas.microsoft.com/office/drawing/2014/main" id="{269C944B-6A8A-000E-3176-B4C8BE6F779A}"/>
              </a:ext>
            </a:extLst>
          </p:cNvPr>
          <p:cNvSpPr/>
          <p:nvPr/>
        </p:nvSpPr>
        <p:spPr>
          <a:xfrm>
            <a:off x="3279140" y="2854960"/>
            <a:ext cx="2743200" cy="2194560"/>
          </a:xfrm>
          <a:prstGeom prst="rect">
            <a:avLst/>
          </a:prstGeom>
          <a:solidFill>
            <a:srgbClr val="FFFFFF"/>
          </a:solidFill>
          <a:ln w="12700">
            <a:solidFill>
              <a:srgbClr val="D5D8DD"/>
            </a:solidFill>
            <a:prstDash val="solid"/>
          </a:ln>
        </p:spPr>
        <p:txBody>
          <a:bodyPr/>
          <a:lstStyle/>
          <a:p>
            <a:endParaRPr lang="de-DE"/>
          </a:p>
        </p:txBody>
      </p:sp>
      <p:sp>
        <p:nvSpPr>
          <p:cNvPr id="34" name="Shape 37">
            <a:extLst>
              <a:ext uri="{FF2B5EF4-FFF2-40B4-BE49-F238E27FC236}">
                <a16:creationId xmlns:a16="http://schemas.microsoft.com/office/drawing/2014/main" id="{17DCC7CD-4FDC-202E-E865-DD27B8AE4484}"/>
              </a:ext>
            </a:extLst>
          </p:cNvPr>
          <p:cNvSpPr/>
          <p:nvPr/>
        </p:nvSpPr>
        <p:spPr>
          <a:xfrm>
            <a:off x="3480308" y="3019552"/>
            <a:ext cx="365760" cy="365760"/>
          </a:xfrm>
          <a:prstGeom prst="ellipse">
            <a:avLst/>
          </a:prstGeom>
          <a:solidFill>
            <a:srgbClr val="EC0016"/>
          </a:solidFill>
          <a:ln w="12700">
            <a:solidFill>
              <a:srgbClr val="EC0016"/>
            </a:solidFill>
            <a:prstDash val="solid"/>
          </a:ln>
        </p:spPr>
        <p:txBody>
          <a:bodyPr/>
          <a:lstStyle/>
          <a:p>
            <a:endParaRPr lang="de-DE"/>
          </a:p>
        </p:txBody>
      </p:sp>
      <p:sp>
        <p:nvSpPr>
          <p:cNvPr id="35" name="Text 38">
            <a:extLst>
              <a:ext uri="{FF2B5EF4-FFF2-40B4-BE49-F238E27FC236}">
                <a16:creationId xmlns:a16="http://schemas.microsoft.com/office/drawing/2014/main" id="{619F3C5A-3413-9DDE-47E0-BD32E8AC2F91}"/>
              </a:ext>
            </a:extLst>
          </p:cNvPr>
          <p:cNvSpPr/>
          <p:nvPr/>
        </p:nvSpPr>
        <p:spPr>
          <a:xfrm>
            <a:off x="3480308" y="3019552"/>
            <a:ext cx="36576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1400" b="1">
                <a:solidFill>
                  <a:srgbClr val="FFFFFF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2</a:t>
            </a:r>
            <a:endParaRPr lang="en-US" sz="1400"/>
          </a:p>
        </p:txBody>
      </p:sp>
      <p:sp>
        <p:nvSpPr>
          <p:cNvPr id="36" name="Text 39">
            <a:extLst>
              <a:ext uri="{FF2B5EF4-FFF2-40B4-BE49-F238E27FC236}">
                <a16:creationId xmlns:a16="http://schemas.microsoft.com/office/drawing/2014/main" id="{42C6EF9C-DB75-E980-6D89-04B85E69D117}"/>
              </a:ext>
            </a:extLst>
          </p:cNvPr>
          <p:cNvSpPr/>
          <p:nvPr/>
        </p:nvSpPr>
        <p:spPr>
          <a:xfrm>
            <a:off x="3919220" y="3019552"/>
            <a:ext cx="201168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1400" b="1">
                <a:solidFill>
                  <a:srgbClr val="131821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Software</a:t>
            </a:r>
            <a:endParaRPr lang="en-US" sz="1400"/>
          </a:p>
        </p:txBody>
      </p:sp>
      <p:sp>
        <p:nvSpPr>
          <p:cNvPr id="37" name="Text 40">
            <a:extLst>
              <a:ext uri="{FF2B5EF4-FFF2-40B4-BE49-F238E27FC236}">
                <a16:creationId xmlns:a16="http://schemas.microsoft.com/office/drawing/2014/main" id="{DCC4F6C2-0AE3-F7DE-8A8F-474CAB2579D2}"/>
              </a:ext>
            </a:extLst>
          </p:cNvPr>
          <p:cNvSpPr/>
          <p:nvPr/>
        </p:nvSpPr>
        <p:spPr>
          <a:xfrm>
            <a:off x="3507740" y="3495040"/>
            <a:ext cx="2377440" cy="146304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342900" indent="-342900">
              <a:spcAft>
                <a:spcPts val="400"/>
              </a:spcAft>
              <a:buSzPct val="100000"/>
              <a:buChar char="■"/>
            </a:pPr>
            <a:r>
              <a:rPr lang="en-US" sz="1100">
                <a:solidFill>
                  <a:srgbClr val="3C414B"/>
                </a:solidFill>
                <a:latin typeface="Arial" panose="020B0604020202020204" pitchFamily="34" charset="0"/>
                <a:ea typeface="Arial" pitchFamily="34" charset="-122"/>
                <a:cs typeface="Arial" panose="020B0604020202020204" pitchFamily="34" charset="0"/>
              </a:rPr>
              <a:t>New software at DB Energie has been set up (several years, &gt; 100 Mio. Euro)</a:t>
            </a:r>
          </a:p>
          <a:p>
            <a:pPr marL="342900" indent="-342900">
              <a:spcAft>
                <a:spcPts val="400"/>
              </a:spcAft>
              <a:buSzPct val="100000"/>
              <a:buChar char="■"/>
            </a:pPr>
            <a:r>
              <a:rPr lang="en-US" sz="1100">
                <a:latin typeface="Arial" panose="020B0604020202020204" pitchFamily="34" charset="0"/>
                <a:cs typeface="Arial" panose="020B0604020202020204" pitchFamily="34" charset="0"/>
              </a:rPr>
              <a:t>Multiple tests were conducted together with market players. Level of Difficulty increased over time.</a:t>
            </a:r>
          </a:p>
        </p:txBody>
      </p:sp>
      <p:sp>
        <p:nvSpPr>
          <p:cNvPr id="38" name="Shape 41">
            <a:extLst>
              <a:ext uri="{FF2B5EF4-FFF2-40B4-BE49-F238E27FC236}">
                <a16:creationId xmlns:a16="http://schemas.microsoft.com/office/drawing/2014/main" id="{639DBFBD-65FA-516C-3BA9-6186278B33A0}"/>
              </a:ext>
            </a:extLst>
          </p:cNvPr>
          <p:cNvSpPr/>
          <p:nvPr/>
        </p:nvSpPr>
        <p:spPr>
          <a:xfrm>
            <a:off x="6113780" y="2854960"/>
            <a:ext cx="2743200" cy="2194560"/>
          </a:xfrm>
          <a:prstGeom prst="rect">
            <a:avLst/>
          </a:prstGeom>
          <a:solidFill>
            <a:srgbClr val="FFFFFF"/>
          </a:solidFill>
          <a:ln w="12700">
            <a:solidFill>
              <a:srgbClr val="D5D8DD"/>
            </a:solidFill>
            <a:prstDash val="solid"/>
          </a:ln>
        </p:spPr>
        <p:txBody>
          <a:bodyPr/>
          <a:lstStyle/>
          <a:p>
            <a:endParaRPr lang="de-DE"/>
          </a:p>
        </p:txBody>
      </p:sp>
      <p:sp>
        <p:nvSpPr>
          <p:cNvPr id="40" name="Shape 43">
            <a:extLst>
              <a:ext uri="{FF2B5EF4-FFF2-40B4-BE49-F238E27FC236}">
                <a16:creationId xmlns:a16="http://schemas.microsoft.com/office/drawing/2014/main" id="{076FCF88-5DFF-B595-5CE2-91D9CFE13D9F}"/>
              </a:ext>
            </a:extLst>
          </p:cNvPr>
          <p:cNvSpPr/>
          <p:nvPr/>
        </p:nvSpPr>
        <p:spPr>
          <a:xfrm>
            <a:off x="6314948" y="3019552"/>
            <a:ext cx="365760" cy="365760"/>
          </a:xfrm>
          <a:prstGeom prst="ellipse">
            <a:avLst/>
          </a:prstGeom>
          <a:solidFill>
            <a:srgbClr val="EC0016"/>
          </a:solidFill>
          <a:ln w="12700">
            <a:solidFill>
              <a:srgbClr val="EC0016"/>
            </a:solidFill>
            <a:prstDash val="solid"/>
          </a:ln>
        </p:spPr>
        <p:txBody>
          <a:bodyPr/>
          <a:lstStyle/>
          <a:p>
            <a:endParaRPr lang="de-DE"/>
          </a:p>
        </p:txBody>
      </p:sp>
      <p:sp>
        <p:nvSpPr>
          <p:cNvPr id="41" name="Text 44">
            <a:extLst>
              <a:ext uri="{FF2B5EF4-FFF2-40B4-BE49-F238E27FC236}">
                <a16:creationId xmlns:a16="http://schemas.microsoft.com/office/drawing/2014/main" id="{4E5223D5-A194-0B10-5BE7-8E5C8221D353}"/>
              </a:ext>
            </a:extLst>
          </p:cNvPr>
          <p:cNvSpPr/>
          <p:nvPr/>
        </p:nvSpPr>
        <p:spPr>
          <a:xfrm>
            <a:off x="6314948" y="3019552"/>
            <a:ext cx="36576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1400" b="1">
                <a:solidFill>
                  <a:srgbClr val="FFFFFF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3</a:t>
            </a:r>
            <a:endParaRPr lang="en-US" sz="1400"/>
          </a:p>
        </p:txBody>
      </p:sp>
      <p:sp>
        <p:nvSpPr>
          <p:cNvPr id="42" name="Text 45">
            <a:extLst>
              <a:ext uri="{FF2B5EF4-FFF2-40B4-BE49-F238E27FC236}">
                <a16:creationId xmlns:a16="http://schemas.microsoft.com/office/drawing/2014/main" id="{77D20551-5ABD-0173-3C6F-2587085871C8}"/>
              </a:ext>
            </a:extLst>
          </p:cNvPr>
          <p:cNvSpPr/>
          <p:nvPr/>
        </p:nvSpPr>
        <p:spPr>
          <a:xfrm>
            <a:off x="6753860" y="3019552"/>
            <a:ext cx="201168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1400" b="1">
                <a:solidFill>
                  <a:srgbClr val="131821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Vehicle data</a:t>
            </a:r>
            <a:endParaRPr lang="en-US" sz="1400"/>
          </a:p>
        </p:txBody>
      </p:sp>
      <p:sp>
        <p:nvSpPr>
          <p:cNvPr id="43" name="Text 46">
            <a:extLst>
              <a:ext uri="{FF2B5EF4-FFF2-40B4-BE49-F238E27FC236}">
                <a16:creationId xmlns:a16="http://schemas.microsoft.com/office/drawing/2014/main" id="{06EB551A-00BA-325F-C24E-DC7C34C62B94}"/>
              </a:ext>
            </a:extLst>
          </p:cNvPr>
          <p:cNvSpPr/>
          <p:nvPr/>
        </p:nvSpPr>
        <p:spPr>
          <a:xfrm>
            <a:off x="6342380" y="3495040"/>
            <a:ext cx="2377440" cy="146304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342900" indent="-342900">
              <a:spcAft>
                <a:spcPts val="400"/>
              </a:spcAft>
              <a:buSzPct val="100000"/>
              <a:buChar char="■"/>
            </a:pPr>
            <a:r>
              <a:rPr lang="en-US" sz="1100" dirty="0">
                <a:latin typeface="Arial" panose="020B0604020202020204" pitchFamily="34" charset="0"/>
                <a:cs typeface="Arial" panose="020B0604020202020204" pitchFamily="34" charset="0"/>
              </a:rPr>
              <a:t>All traction vehicles, which are registered today, are quality checked and validated.</a:t>
            </a:r>
          </a:p>
          <a:p>
            <a:pPr marL="342900" indent="-342900">
              <a:spcAft>
                <a:spcPts val="400"/>
              </a:spcAft>
              <a:buSzPct val="100000"/>
              <a:buChar char="■"/>
            </a:pPr>
            <a:r>
              <a:rPr lang="en-US" sz="1100" dirty="0">
                <a:latin typeface="Arial" panose="020B0604020202020204" pitchFamily="34" charset="0"/>
                <a:cs typeface="Arial" panose="020B0604020202020204" pitchFamily="34" charset="0"/>
              </a:rPr>
              <a:t>Technical information is carried over to the new IT-system.</a:t>
            </a:r>
          </a:p>
          <a:p>
            <a:pPr marL="342900" indent="-342900">
              <a:spcAft>
                <a:spcPts val="400"/>
              </a:spcAft>
              <a:buSzPct val="100000"/>
              <a:buChar char="■"/>
            </a:pPr>
            <a:r>
              <a:rPr lang="en-US" sz="1100" dirty="0">
                <a:latin typeface="Arial" panose="020B0604020202020204" pitchFamily="34" charset="0"/>
                <a:cs typeface="Arial" panose="020B0604020202020204" pitchFamily="34" charset="0"/>
              </a:rPr>
              <a:t>ANe-tEns will have an internet portal to access and type in the data for their vehicles.</a:t>
            </a:r>
          </a:p>
        </p:txBody>
      </p:sp>
      <p:sp>
        <p:nvSpPr>
          <p:cNvPr id="44" name="Shape 47">
            <a:extLst>
              <a:ext uri="{FF2B5EF4-FFF2-40B4-BE49-F238E27FC236}">
                <a16:creationId xmlns:a16="http://schemas.microsoft.com/office/drawing/2014/main" id="{B92CE979-DE97-D5E0-2BDD-5AEBDAC33C63}"/>
              </a:ext>
            </a:extLst>
          </p:cNvPr>
          <p:cNvSpPr/>
          <p:nvPr/>
        </p:nvSpPr>
        <p:spPr>
          <a:xfrm>
            <a:off x="8948420" y="2854960"/>
            <a:ext cx="2743200" cy="2194560"/>
          </a:xfrm>
          <a:prstGeom prst="rect">
            <a:avLst/>
          </a:prstGeom>
          <a:solidFill>
            <a:srgbClr val="FFFFFF"/>
          </a:solidFill>
          <a:ln w="12700">
            <a:solidFill>
              <a:srgbClr val="D5D8DD"/>
            </a:solidFill>
            <a:prstDash val="solid"/>
          </a:ln>
        </p:spPr>
        <p:txBody>
          <a:bodyPr/>
          <a:lstStyle/>
          <a:p>
            <a:endParaRPr lang="de-DE"/>
          </a:p>
        </p:txBody>
      </p:sp>
      <p:sp>
        <p:nvSpPr>
          <p:cNvPr id="46" name="Shape 49">
            <a:extLst>
              <a:ext uri="{FF2B5EF4-FFF2-40B4-BE49-F238E27FC236}">
                <a16:creationId xmlns:a16="http://schemas.microsoft.com/office/drawing/2014/main" id="{543CBCDB-84D0-EE57-CF40-CDB699EB54BE}"/>
              </a:ext>
            </a:extLst>
          </p:cNvPr>
          <p:cNvSpPr/>
          <p:nvPr/>
        </p:nvSpPr>
        <p:spPr>
          <a:xfrm>
            <a:off x="9149588" y="3019552"/>
            <a:ext cx="365760" cy="365760"/>
          </a:xfrm>
          <a:prstGeom prst="ellipse">
            <a:avLst/>
          </a:prstGeom>
          <a:solidFill>
            <a:srgbClr val="EC0016"/>
          </a:solidFill>
          <a:ln w="12700">
            <a:solidFill>
              <a:srgbClr val="EC0016"/>
            </a:solidFill>
            <a:prstDash val="solid"/>
          </a:ln>
        </p:spPr>
        <p:txBody>
          <a:bodyPr/>
          <a:lstStyle/>
          <a:p>
            <a:endParaRPr lang="de-DE"/>
          </a:p>
        </p:txBody>
      </p:sp>
      <p:sp>
        <p:nvSpPr>
          <p:cNvPr id="47" name="Text 50">
            <a:extLst>
              <a:ext uri="{FF2B5EF4-FFF2-40B4-BE49-F238E27FC236}">
                <a16:creationId xmlns:a16="http://schemas.microsoft.com/office/drawing/2014/main" id="{F96C284B-9339-35F6-8F05-3D71051A3603}"/>
              </a:ext>
            </a:extLst>
          </p:cNvPr>
          <p:cNvSpPr/>
          <p:nvPr/>
        </p:nvSpPr>
        <p:spPr>
          <a:xfrm>
            <a:off x="9149588" y="3019552"/>
            <a:ext cx="36576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1400" b="1">
                <a:solidFill>
                  <a:srgbClr val="FFFFFF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4</a:t>
            </a:r>
            <a:endParaRPr lang="en-US" sz="1400"/>
          </a:p>
        </p:txBody>
      </p:sp>
      <p:sp>
        <p:nvSpPr>
          <p:cNvPr id="48" name="Text 51">
            <a:extLst>
              <a:ext uri="{FF2B5EF4-FFF2-40B4-BE49-F238E27FC236}">
                <a16:creationId xmlns:a16="http://schemas.microsoft.com/office/drawing/2014/main" id="{04A7A925-6A46-7758-2039-1CCD2F2CFB31}"/>
              </a:ext>
            </a:extLst>
          </p:cNvPr>
          <p:cNvSpPr/>
          <p:nvPr/>
        </p:nvSpPr>
        <p:spPr>
          <a:xfrm>
            <a:off x="9588500" y="3019552"/>
            <a:ext cx="201168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1400" b="1">
                <a:solidFill>
                  <a:srgbClr val="131821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Data Service providers</a:t>
            </a:r>
            <a:endParaRPr lang="en-US" sz="1400"/>
          </a:p>
        </p:txBody>
      </p:sp>
      <p:sp>
        <p:nvSpPr>
          <p:cNvPr id="49" name="Text 52">
            <a:extLst>
              <a:ext uri="{FF2B5EF4-FFF2-40B4-BE49-F238E27FC236}">
                <a16:creationId xmlns:a16="http://schemas.microsoft.com/office/drawing/2014/main" id="{95795270-BC02-EF0C-52F8-EF10ADC3D6D0}"/>
              </a:ext>
            </a:extLst>
          </p:cNvPr>
          <p:cNvSpPr/>
          <p:nvPr/>
        </p:nvSpPr>
        <p:spPr>
          <a:xfrm>
            <a:off x="9177020" y="3495040"/>
            <a:ext cx="2377440" cy="146304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342900" indent="-342900">
              <a:spcAft>
                <a:spcPts val="400"/>
              </a:spcAft>
              <a:buSzPct val="100000"/>
              <a:buChar char="■"/>
            </a:pPr>
            <a:r>
              <a:rPr lang="en-US" sz="1100">
                <a:solidFill>
                  <a:srgbClr val="3C414B"/>
                </a:solidFill>
                <a:latin typeface="Arial" panose="020B0604020202020204" pitchFamily="34" charset="0"/>
                <a:ea typeface="Arial" pitchFamily="34" charset="-122"/>
                <a:cs typeface="Arial" panose="020B0604020202020204" pitchFamily="34" charset="0"/>
              </a:rPr>
              <a:t>Data service providers are preparing to act as connectors between Railway Undertakings and DB Energie.</a:t>
            </a:r>
            <a:endParaRPr lang="en-US" sz="11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Shape 53">
            <a:extLst>
              <a:ext uri="{FF2B5EF4-FFF2-40B4-BE49-F238E27FC236}">
                <a16:creationId xmlns:a16="http://schemas.microsoft.com/office/drawing/2014/main" id="{08628215-6089-915F-125C-A0E34F3DB2F9}"/>
              </a:ext>
            </a:extLst>
          </p:cNvPr>
          <p:cNvSpPr/>
          <p:nvPr/>
        </p:nvSpPr>
        <p:spPr>
          <a:xfrm>
            <a:off x="444500" y="5186680"/>
            <a:ext cx="11247120" cy="457200"/>
          </a:xfrm>
          <a:prstGeom prst="rect">
            <a:avLst/>
          </a:prstGeom>
          <a:solidFill>
            <a:srgbClr val="EC0016"/>
          </a:solidFill>
          <a:ln w="12700">
            <a:solidFill>
              <a:srgbClr val="EC0016"/>
            </a:solidFill>
            <a:prstDash val="solid"/>
          </a:ln>
        </p:spPr>
        <p:txBody>
          <a:bodyPr/>
          <a:lstStyle/>
          <a:p>
            <a:endParaRPr lang="de-DE"/>
          </a:p>
        </p:txBody>
      </p:sp>
      <p:sp>
        <p:nvSpPr>
          <p:cNvPr id="51" name="Text 54">
            <a:extLst>
              <a:ext uri="{FF2B5EF4-FFF2-40B4-BE49-F238E27FC236}">
                <a16:creationId xmlns:a16="http://schemas.microsoft.com/office/drawing/2014/main" id="{5C453333-FB6E-CB17-E1C9-7BF1E3C1F97F}"/>
              </a:ext>
            </a:extLst>
          </p:cNvPr>
          <p:cNvSpPr/>
          <p:nvPr/>
        </p:nvSpPr>
        <p:spPr>
          <a:xfrm>
            <a:off x="627380" y="5186680"/>
            <a:ext cx="10881360" cy="4572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1400" b="1">
                <a:solidFill>
                  <a:srgbClr val="FFFFFF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Commitment and compliance from all parties involved will make the new model work!</a:t>
            </a:r>
            <a:endParaRPr lang="en-US" sz="1400"/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21DB7272-A1DF-27A4-580A-D8FC319EB6EA}"/>
              </a:ext>
            </a:extLst>
          </p:cNvPr>
          <p:cNvSpPr txBox="1"/>
          <p:nvPr/>
        </p:nvSpPr>
        <p:spPr>
          <a:xfrm>
            <a:off x="13749" y="8361"/>
            <a:ext cx="2351315" cy="227994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>
            <a:spAutoFit/>
          </a:bodyPr>
          <a:lstStyle/>
          <a:p>
            <a:pPr marL="180000" indent="-180000" algn="l">
              <a:buClr>
                <a:schemeClr val="accent2"/>
              </a:buClr>
              <a:buFont typeface="+mn-lt"/>
              <a:buChar char="•"/>
            </a:pPr>
            <a:endParaRPr lang="de-DE" sz="1600"/>
          </a:p>
        </p:txBody>
      </p:sp>
    </p:spTree>
    <p:extLst>
      <p:ext uri="{BB962C8B-B14F-4D97-AF65-F5344CB8AC3E}">
        <p14:creationId xmlns:p14="http://schemas.microsoft.com/office/powerpoint/2010/main" val="38532322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platzhalter 10">
            <a:extLst>
              <a:ext uri="{FF2B5EF4-FFF2-40B4-BE49-F238E27FC236}">
                <a16:creationId xmlns:a16="http://schemas.microsoft.com/office/drawing/2014/main" id="{7320249A-EE64-3F20-CAA5-DCFFB5E4303E}"/>
              </a:ext>
            </a:extLst>
          </p:cNvPr>
          <p:cNvPicPr>
            <a:picLocks noGrp="1" noChangeAspect="1"/>
          </p:cNvPicPr>
          <p:nvPr>
            <p:ph type="pic" sz="quarter" idx="20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</p:spPr>
      </p:pic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863359D-2F1F-4169-B6E4-89E4D5BF18A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604607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MASTER" val="DB 16_9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SHNT"/>
</p:tagLst>
</file>

<file path=ppt/theme/theme1.xml><?xml version="1.0" encoding="utf-8"?>
<a:theme xmlns:a="http://schemas.openxmlformats.org/drawingml/2006/main" name="DB">
  <a:themeElements>
    <a:clrScheme name="DB Farben">
      <a:dk1>
        <a:sysClr val="windowText" lastClr="000000"/>
      </a:dk1>
      <a:lt1>
        <a:sysClr val="window" lastClr="FFFFFF"/>
      </a:lt1>
      <a:dk2>
        <a:srgbClr val="000000"/>
      </a:dk2>
      <a:lt2>
        <a:srgbClr val="878C96"/>
      </a:lt2>
      <a:accent1>
        <a:srgbClr val="D7DCE1"/>
      </a:accent1>
      <a:accent2>
        <a:srgbClr val="EC0016"/>
      </a:accent2>
      <a:accent3>
        <a:srgbClr val="F0F3F5"/>
      </a:accent3>
      <a:accent4>
        <a:srgbClr val="AFB4BB"/>
      </a:accent4>
      <a:accent5>
        <a:srgbClr val="3C414B"/>
      </a:accent5>
      <a:accent6>
        <a:srgbClr val="F0F3F5"/>
      </a:accent6>
      <a:hlink>
        <a:srgbClr val="3C414B"/>
      </a:hlink>
      <a:folHlink>
        <a:srgbClr val="878C96"/>
      </a:folHlink>
    </a:clrScheme>
    <a:fontScheme name="Benutzerdefiniert 104">
      <a:majorFont>
        <a:latin typeface="DB Neo Office Head"/>
        <a:ea typeface=""/>
        <a:cs typeface=""/>
      </a:majorFont>
      <a:minorFont>
        <a:latin typeface="DB Neo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lIns="72000" tIns="72000" rIns="72000" bIns="72000" rtlCol="0" anchor="ctr"/>
      <a:lstStyle>
        <a:defPPr algn="ctr">
          <a:buClr>
            <a:schemeClr val="accent2"/>
          </a:buClr>
          <a:defRPr sz="16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AFB4BB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none" lIns="0" tIns="0" rIns="0" bIns="0" rtlCol="0">
        <a:spAutoFit/>
      </a:bodyPr>
      <a:lstStyle>
        <a:defPPr marL="180000" indent="-180000" algn="l">
          <a:buClr>
            <a:schemeClr val="accent2"/>
          </a:buClr>
          <a:buFont typeface="+mn-lt"/>
          <a:buChar char="•"/>
          <a:defRPr sz="1600" smtClean="0"/>
        </a:defPPr>
      </a:lstStyle>
    </a:txDef>
  </a:objectDefaults>
  <a:extraClrSchemeLst/>
  <a:custClrLst>
    <a:custClr name="Yellow 700">
      <a:srgbClr val="FF9B00"/>
    </a:custClr>
    <a:custClr name="Orange 700">
      <a:srgbClr val="C05E00"/>
    </a:custClr>
    <a:custClr name="Red 700">
      <a:srgbClr val="9B000E"/>
    </a:custClr>
    <a:custClr name="Burgundy 700">
      <a:srgbClr val="641E32"/>
    </a:custClr>
    <a:custClr name="Pink 700">
      <a:srgbClr val="B80065"/>
    </a:custClr>
    <a:custClr name="Violett 700">
      <a:srgbClr val="581D70"/>
    </a:custClr>
    <a:custClr name="Blue 700">
      <a:srgbClr val="0A1E6E"/>
    </a:custClr>
    <a:custClr name="Cyan 700">
      <a:srgbClr val="006A96"/>
    </a:custClr>
    <a:custClr name="Turquiose 700">
      <a:srgbClr val="006E6B"/>
    </a:custClr>
    <a:custClr name="Green 700">
      <a:srgbClr val="165C27"/>
    </a:custClr>
    <a:custClr name="Yellow 500">
      <a:srgbClr val="FFD800"/>
    </a:custClr>
    <a:custClr name="Orange 500">
      <a:srgbClr val="F39200"/>
    </a:custClr>
    <a:custClr name="Red 500">
      <a:srgbClr val="EC0016"/>
    </a:custClr>
    <a:custClr name="Burgundy 500">
      <a:srgbClr val="A9455D"/>
    </a:custClr>
    <a:custClr name="Pink 500">
      <a:srgbClr val="E93E8F"/>
    </a:custClr>
    <a:custClr name="Violett 500">
      <a:srgbClr val="814997"/>
    </a:custClr>
    <a:custClr name="Blue 500">
      <a:srgbClr val="1455C0"/>
    </a:custClr>
    <a:custClr name="Cyan 500">
      <a:srgbClr val="309FD1"/>
    </a:custClr>
    <a:custClr name="Turquiose 500">
      <a:srgbClr val="00A099"/>
    </a:custClr>
    <a:custClr name="Green 500">
      <a:srgbClr val="408335"/>
    </a:custClr>
    <a:custClr name="Yellow 300">
      <a:srgbClr val="FFF876"/>
    </a:custClr>
    <a:custClr name="Orange 300">
      <a:srgbClr val="FACA7F"/>
    </a:custClr>
    <a:custClr name="Red 300">
      <a:srgbClr val="FA9090"/>
    </a:custClr>
    <a:custClr name="Burgundy 300">
      <a:srgbClr val="DA9AA8"/>
    </a:custClr>
    <a:custClr name="Pink 300">
      <a:srgbClr val="F4AECE"/>
    </a:custClr>
    <a:custClr name="Violett 300">
      <a:srgbClr val="C2A1C7"/>
    </a:custClr>
    <a:custClr name="Blue 300">
      <a:srgbClr val="73AEF4"/>
    </a:custClr>
    <a:custClr name="Cyan 300">
      <a:srgbClr val="84CFEF"/>
    </a:custClr>
    <a:custClr name="Turquiose 300">
      <a:srgbClr val="83CACA"/>
    </a:custClr>
    <a:custClr name="Green 300">
      <a:srgbClr val="8CBC80"/>
    </a:custClr>
    <a:custClr name="Yellow 100">
      <a:srgbClr val="FFFFDC"/>
    </a:custClr>
    <a:custClr name="Orange 100">
      <a:srgbClr val="FFF4D8"/>
    </a:custClr>
    <a:custClr name="Red 100">
      <a:srgbClr val="FEE6E6"/>
    </a:custClr>
    <a:custClr name="Burgundy 100">
      <a:srgbClr val="F4E8ED"/>
    </a:custClr>
    <a:custClr name="Pink 100">
      <a:srgbClr val="FDEEF8"/>
    </a:custClr>
    <a:custClr name="Violett 100">
      <a:srgbClr val="F4EEFA"/>
    </a:custClr>
    <a:custClr name="Blue 100">
      <a:srgbClr val="E0EFFB"/>
    </a:custClr>
    <a:custClr name="Cyan 100">
      <a:srgbClr val="E5FAFF"/>
    </a:custClr>
    <a:custClr name="Turquiose 100">
      <a:srgbClr val="E3F5F4"/>
    </a:custClr>
    <a:custClr name="Green 100">
      <a:srgbClr val="E2F3E5"/>
    </a:custClr>
    <a:custClr name="Light Green 700">
      <a:srgbClr val="44741A"/>
    </a:custClr>
    <a:custClr name="Light Green 500">
      <a:srgbClr val="63A615"/>
    </a:custClr>
    <a:custClr name="Light Green 300">
      <a:srgbClr val="9FD45F"/>
    </a:custClr>
    <a:custClr name="Light Green 100">
      <a:srgbClr val="EBF7DD"/>
    </a:custClr>
    <a:custClr name="Warm Grey 700">
      <a:srgbClr val="4F4B41"/>
    </a:custClr>
    <a:custClr name="Warm Grey 500">
      <a:srgbClr val="858379"/>
    </a:custClr>
    <a:custClr name="Warm Grey 300">
      <a:srgbClr val="BCBBB2"/>
    </a:custClr>
    <a:custClr name="Warm Grey 100">
      <a:srgbClr val="F5F4F1"/>
    </a:custClr>
    <a:custClr name="Black">
      <a:srgbClr val="000000"/>
    </a:custClr>
    <a:custClr name="White">
      <a:srgbClr val="FFFFFF"/>
    </a:custClr>
  </a:custClrLst>
  <a:extLst>
    <a:ext uri="{05A4C25C-085E-4340-85A3-A5531E510DB2}">
      <thm15:themeFamily xmlns:thm15="http://schemas.microsoft.com/office/thememl/2012/main" name="DB Energie_16_9_NEW.potx" id="{1C4CAA0C-FDA0-4606-B872-970F60570D94}" vid="{312EB987-631F-4623-84EC-D6706DFCF387}"/>
    </a:ext>
  </a:extLst>
</a:theme>
</file>

<file path=ppt/theme/theme2.xml><?xml version="1.0" encoding="utf-8"?>
<a:theme xmlns:a="http://schemas.openxmlformats.org/drawingml/2006/main" name="Office">
  <a:themeElements>
    <a:clrScheme name="Benutzerdefiniert 190">
      <a:dk1>
        <a:sysClr val="windowText" lastClr="000000"/>
      </a:dk1>
      <a:lt1>
        <a:sysClr val="window" lastClr="FFFFFF"/>
      </a:lt1>
      <a:dk2>
        <a:srgbClr val="000000"/>
      </a:dk2>
      <a:lt2>
        <a:srgbClr val="8D919B"/>
      </a:lt2>
      <a:accent1>
        <a:srgbClr val="D3D8DC"/>
      </a:accent1>
      <a:accent2>
        <a:srgbClr val="EC0016"/>
      </a:accent2>
      <a:accent3>
        <a:srgbClr val="EFF2F2"/>
      </a:accent3>
      <a:accent4>
        <a:srgbClr val="D3D8DC"/>
      </a:accent4>
      <a:accent5>
        <a:srgbClr val="555B63"/>
      </a:accent5>
      <a:accent6>
        <a:srgbClr val="EFF2F2"/>
      </a:accent6>
      <a:hlink>
        <a:srgbClr val="555B63"/>
      </a:hlink>
      <a:folHlink>
        <a:srgbClr val="D3D8DC"/>
      </a:folHlink>
    </a:clrScheme>
    <a:fontScheme name="Benutzerdefiniert 104">
      <a:majorFont>
        <a:latin typeface="DB Neo Office Head"/>
        <a:ea typeface=""/>
        <a:cs typeface=""/>
      </a:majorFont>
      <a:minorFont>
        <a:latin typeface="DB Neo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Benutzerdefiniert 190">
      <a:dk1>
        <a:sysClr val="windowText" lastClr="000000"/>
      </a:dk1>
      <a:lt1>
        <a:sysClr val="window" lastClr="FFFFFF"/>
      </a:lt1>
      <a:dk2>
        <a:srgbClr val="000000"/>
      </a:dk2>
      <a:lt2>
        <a:srgbClr val="8D919B"/>
      </a:lt2>
      <a:accent1>
        <a:srgbClr val="D3D8DC"/>
      </a:accent1>
      <a:accent2>
        <a:srgbClr val="EC0016"/>
      </a:accent2>
      <a:accent3>
        <a:srgbClr val="EFF2F2"/>
      </a:accent3>
      <a:accent4>
        <a:srgbClr val="D3D8DC"/>
      </a:accent4>
      <a:accent5>
        <a:srgbClr val="555B63"/>
      </a:accent5>
      <a:accent6>
        <a:srgbClr val="EFF2F2"/>
      </a:accent6>
      <a:hlink>
        <a:srgbClr val="555B63"/>
      </a:hlink>
      <a:folHlink>
        <a:srgbClr val="D3D8DC"/>
      </a:folHlink>
    </a:clrScheme>
    <a:fontScheme name="Benutzerdefiniert 104">
      <a:majorFont>
        <a:latin typeface="DB Neo Office Head"/>
        <a:ea typeface=""/>
        <a:cs typeface=""/>
      </a:majorFont>
      <a:minorFont>
        <a:latin typeface="DB Neo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40d80da1-1a4c-435e-88ff-5325f84e67ae">
      <Terms xmlns="http://schemas.microsoft.com/office/infopath/2007/PartnerControls"/>
    </lcf76f155ced4ddcb4097134ff3c332f>
    <TaxCatchAll xmlns="56ec2d0c-8b42-44ed-9814-c13d9c6b4d3a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BE7386F82454BE4EBF3DA8711282C13C" ma:contentTypeVersion="19" ma:contentTypeDescription="Opprett et nytt dokument." ma:contentTypeScope="" ma:versionID="500586599a9a523a4b9dcf57d2045058">
  <xsd:schema xmlns:xsd="http://www.w3.org/2001/XMLSchema" xmlns:xs="http://www.w3.org/2001/XMLSchema" xmlns:p="http://schemas.microsoft.com/office/2006/metadata/properties" xmlns:ns2="40d80da1-1a4c-435e-88ff-5325f84e67ae" xmlns:ns3="56ec2d0c-8b42-44ed-9814-c13d9c6b4d3a" targetNamespace="http://schemas.microsoft.com/office/2006/metadata/properties" ma:root="true" ma:fieldsID="fdaa78b8fce146536224ce8a6b595c14" ns2:_="" ns3:_="">
    <xsd:import namespace="40d80da1-1a4c-435e-88ff-5325f84e67ae"/>
    <xsd:import namespace="56ec2d0c-8b42-44ed-9814-c13d9c6b4d3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OCR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0d80da1-1a4c-435e-88ff-5325f84e67a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6" nillable="true" ma:displayName="Location" ma:internalName="MediaServiceLocation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Bildemerkelapper" ma:readOnly="false" ma:fieldId="{5cf76f15-5ced-4ddc-b409-7134ff3c332f}" ma:taxonomyMulti="true" ma:sspId="b5ade4f4-33cc-4e03-ab01-0a2e5bb4765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3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5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6ec2d0c-8b42-44ed-9814-c13d9c6b4d3a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Delingsdetaljer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8f2a091b-df48-48fb-9e86-898c12eeae8e}" ma:internalName="TaxCatchAll" ma:showField="CatchAllData" ma:web="56ec2d0c-8b42-44ed-9814-c13d9c6b4d3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71D600B-5FBF-4D79-AF3C-5650A67E1140}">
  <ds:schemaRefs>
    <ds:schemaRef ds:uri="7954833a-ebe6-4080-baef-2c403fb6e623"/>
    <ds:schemaRef ds:uri="9e925b59-154f-40bc-ab94-93f4e4c835ad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28D55A35-E344-4E75-8F50-6BD38B38891A}"/>
</file>

<file path=customXml/itemProps3.xml><?xml version="1.0" encoding="utf-8"?>
<ds:datastoreItem xmlns:ds="http://schemas.openxmlformats.org/officeDocument/2006/customXml" ds:itemID="{4CE87FAE-71AE-452B-9F7E-D1F43BD3C962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B Energie_16_9</Template>
  <TotalTime>0</TotalTime>
  <Words>695</Words>
  <Application>Microsoft Office PowerPoint</Application>
  <PresentationFormat>Breitbild</PresentationFormat>
  <Paragraphs>117</Paragraphs>
  <Slides>7</Slides>
  <Notes>3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7</vt:i4>
      </vt:variant>
    </vt:vector>
  </HeadingPairs>
  <TitlesOfParts>
    <vt:vector size="13" baseType="lpstr">
      <vt:lpstr>Arial</vt:lpstr>
      <vt:lpstr>DB Neo Office</vt:lpstr>
      <vt:lpstr>DB Neo Office Head</vt:lpstr>
      <vt:lpstr>Symbol</vt:lpstr>
      <vt:lpstr>DB</vt:lpstr>
      <vt:lpstr>think-cell Folie</vt:lpstr>
      <vt:lpstr>Access to German traction grid</vt:lpstr>
      <vt:lpstr>Background and regulatory framework</vt:lpstr>
      <vt:lpstr>Proceedings and data flow regulated towards DB Energie, freely arranged among market parties </vt:lpstr>
      <vt:lpstr>Reporting towards DB Energie/BNB </vt:lpstr>
      <vt:lpstr>Deadlines for data reporting and billing</vt:lpstr>
      <vt:lpstr>Steps to implement the new Grid access model 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Tillman Kratz</dc:creator>
  <cp:lastModifiedBy>Harald Wiebel</cp:lastModifiedBy>
  <cp:revision>1</cp:revision>
  <cp:lastPrinted>2026-05-27T13:25:54Z</cp:lastPrinted>
  <dcterms:created xsi:type="dcterms:W3CDTF">2026-04-10T07:08:08Z</dcterms:created>
  <dcterms:modified xsi:type="dcterms:W3CDTF">2026-05-27T14:32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E7386F82454BE4EBF3DA8711282C13C</vt:lpwstr>
  </property>
  <property fmtid="{D5CDD505-2E9C-101B-9397-08002B2CF9AE}" pid="3" name="ComplianceAssetId">
    <vt:lpwstr/>
  </property>
  <property fmtid="{D5CDD505-2E9C-101B-9397-08002B2CF9AE}" pid="4" name="_ExtendedDescription">
    <vt:lpwstr/>
  </property>
  <property fmtid="{D5CDD505-2E9C-101B-9397-08002B2CF9AE}" pid="5" name="TriggerFlowInfo">
    <vt:lpwstr/>
  </property>
  <property fmtid="{D5CDD505-2E9C-101B-9397-08002B2CF9AE}" pid="6" name="MediaServiceImageTags">
    <vt:lpwstr/>
  </property>
  <property fmtid="{D5CDD505-2E9C-101B-9397-08002B2CF9AE}" pid="7" name="MSIP_Label_3dac9f92-1d4e-4aae-b975-a9900684008d_Enabled">
    <vt:lpwstr>true</vt:lpwstr>
  </property>
  <property fmtid="{D5CDD505-2E9C-101B-9397-08002B2CF9AE}" pid="8" name="MSIP_Label_3dac9f92-1d4e-4aae-b975-a9900684008d_SetDate">
    <vt:lpwstr>2026-05-27T11:13:02Z</vt:lpwstr>
  </property>
  <property fmtid="{D5CDD505-2E9C-101B-9397-08002B2CF9AE}" pid="9" name="MSIP_Label_3dac9f92-1d4e-4aae-b975-a9900684008d_Method">
    <vt:lpwstr>Standard</vt:lpwstr>
  </property>
  <property fmtid="{D5CDD505-2E9C-101B-9397-08002B2CF9AE}" pid="10" name="MSIP_Label_3dac9f92-1d4e-4aae-b975-a9900684008d_Name">
    <vt:lpwstr>DB Intern</vt:lpwstr>
  </property>
  <property fmtid="{D5CDD505-2E9C-101B-9397-08002B2CF9AE}" pid="11" name="MSIP_Label_3dac9f92-1d4e-4aae-b975-a9900684008d_SiteId">
    <vt:lpwstr>a1a72d9c-49e6-4f6d-9af6-5aafa1183bfd</vt:lpwstr>
  </property>
  <property fmtid="{D5CDD505-2E9C-101B-9397-08002B2CF9AE}" pid="12" name="MSIP_Label_3dac9f92-1d4e-4aae-b975-a9900684008d_ActionId">
    <vt:lpwstr>de03553c-7c87-4943-8fe7-557477ff3c06</vt:lpwstr>
  </property>
  <property fmtid="{D5CDD505-2E9C-101B-9397-08002B2CF9AE}" pid="13" name="MSIP_Label_3dac9f92-1d4e-4aae-b975-a9900684008d_ContentBits">
    <vt:lpwstr>1</vt:lpwstr>
  </property>
  <property fmtid="{D5CDD505-2E9C-101B-9397-08002B2CF9AE}" pid="14" name="MSIP_Label_3dac9f92-1d4e-4aae-b975-a9900684008d_Tag">
    <vt:lpwstr>10, 3, 0, 1</vt:lpwstr>
  </property>
  <property fmtid="{D5CDD505-2E9C-101B-9397-08002B2CF9AE}" pid="15" name="ClassificationContentMarkingHeaderLocations">
    <vt:lpwstr>DB:8</vt:lpwstr>
  </property>
  <property fmtid="{D5CDD505-2E9C-101B-9397-08002B2CF9AE}" pid="16" name="ClassificationContentMarkingHeaderText">
    <vt:lpwstr>          DB Intern / DB internal</vt:lpwstr>
  </property>
</Properties>
</file>